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1" r:id="rId1"/>
    <p:sldMasterId id="2147483678" r:id="rId2"/>
    <p:sldMasterId id="2147483816" r:id="rId3"/>
    <p:sldMasterId id="2147483829" r:id="rId4"/>
  </p:sldMasterIdLst>
  <p:notesMasterIdLst>
    <p:notesMasterId r:id="rId19"/>
  </p:notesMasterIdLst>
  <p:sldIdLst>
    <p:sldId id="296" r:id="rId5"/>
    <p:sldId id="318" r:id="rId6"/>
    <p:sldId id="268" r:id="rId7"/>
    <p:sldId id="314" r:id="rId8"/>
    <p:sldId id="329" r:id="rId9"/>
    <p:sldId id="320" r:id="rId10"/>
    <p:sldId id="330" r:id="rId11"/>
    <p:sldId id="321" r:id="rId12"/>
    <p:sldId id="323" r:id="rId13"/>
    <p:sldId id="324" r:id="rId14"/>
    <p:sldId id="325" r:id="rId15"/>
    <p:sldId id="326" r:id="rId16"/>
    <p:sldId id="327" r:id="rId17"/>
    <p:sldId id="298" r:id="rId18"/>
  </p:sldIdLst>
  <p:sldSz cx="9144000" cy="5143500" type="screen16x9"/>
  <p:notesSz cx="6797675" cy="9928225"/>
  <p:embeddedFontLst>
    <p:embeddedFont>
      <p:font typeface="Open Sans" panose="020B0604020202020204" charset="0"/>
      <p:regular r:id="rId20"/>
      <p:bold r:id="rId21"/>
      <p:italic r:id="rId22"/>
      <p:boldItalic r:id="rId23"/>
    </p:embeddedFont>
    <p:embeddedFont>
      <p:font typeface="Ubuntu" panose="020B0604020202020204" charset="0"/>
      <p:regular r:id="rId24"/>
      <p:bold r:id="rId25"/>
      <p:italic r:id="rId26"/>
      <p:boldItalic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Montserrat Light" panose="020B0604020202020204" charset="0"/>
      <p:regular r:id="rId32"/>
      <p:italic r:id="rId33"/>
    </p:embeddedFont>
    <p:embeddedFont>
      <p:font typeface="Segoe UI Light" panose="020B0502040204020203" pitchFamily="34" charset="0"/>
      <p:regular r:id="rId34"/>
      <p:italic r:id="rId35"/>
    </p:embeddedFont>
    <p:embeddedFont>
      <p:font typeface="Calibri Light" panose="020F0302020204030204" pitchFamily="34" charset="0"/>
      <p:regular r:id="rId36"/>
      <p:italic r:id="rId37"/>
    </p:embeddedFont>
    <p:embeddedFont>
      <p:font typeface="Montserrat" panose="020B0604020202020204" charset="0"/>
      <p:regular r:id="rId38"/>
      <p:bold r:id="rId39"/>
      <p:italic r:id="rId40"/>
      <p:boldItalic r:id="rId41"/>
    </p:embeddedFont>
    <p:embeddedFont>
      <p:font typeface="Segoe UI" panose="020B0502040204020203" pitchFamily="34" charset="0"/>
      <p:regular r:id="rId42"/>
      <p:bold r:id="rId43"/>
      <p:italic r:id="rId44"/>
      <p:boldItalic r:id="rId45"/>
    </p:embeddedFont>
    <p:embeddedFont>
      <p:font typeface="Georgia" panose="02040502050405020303" pitchFamily="18" charset="0"/>
      <p:regular r:id="rId46"/>
      <p:bold r:id="rId47"/>
      <p:italic r:id="rId48"/>
      <p:boldItalic r:id="rId49"/>
    </p:embeddedFont>
    <p:embeddedFont>
      <p:font typeface="Segoe UI Semibold" panose="020B0702040204020203" pitchFamily="34" charset="0"/>
      <p:bold r:id="rId50"/>
      <p:boldItalic r:id="rId5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uyrzhan Kabi" initials="BK" lastIdx="2" clrIdx="0">
    <p:extLst>
      <p:ext uri="{19B8F6BF-5375-455C-9EA6-DF929625EA0E}">
        <p15:presenceInfo xmlns:p15="http://schemas.microsoft.com/office/powerpoint/2012/main" userId="S-1-5-21-2368740455-296324153-1968939347-42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B4D2"/>
    <a:srgbClr val="FFF4D5"/>
    <a:srgbClr val="F3FFFF"/>
    <a:srgbClr val="CCFFFF"/>
    <a:srgbClr val="F5F9FD"/>
    <a:srgbClr val="FF9933"/>
    <a:srgbClr val="189AB4"/>
    <a:srgbClr val="FFFFFF"/>
    <a:srgbClr val="73A9DB"/>
    <a:srgbClr val="F0F6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69757E3-7827-42FF-81BD-7B1EFBA8A445}">
  <a:tblStyle styleId="{269757E3-7827-42FF-81BD-7B1EFBA8A445}" styleName="Table_0">
    <a:wholeTbl>
      <a:tcTxStyle b="off" i="off">
        <a:font>
          <a:latin typeface="Helvetica Neue Medium"/>
          <a:ea typeface="Helvetica Neue Medium"/>
          <a:cs typeface="Helvetica Neue Medium"/>
        </a:font>
        <a:srgbClr val="5B5854"/>
      </a:tcTxStyle>
      <a:tcStyle>
        <a:tcBdr>
          <a:left>
            <a:ln w="25400" cap="flat" cmpd="sng">
              <a:solidFill>
                <a:srgbClr val="5B5854"/>
              </a:solidFill>
              <a:prstDash val="dashDot"/>
              <a:round/>
              <a:headEnd type="none" w="sm" len="sm"/>
              <a:tailEnd type="none" w="sm" len="sm"/>
            </a:ln>
          </a:left>
          <a:right>
            <a:ln w="25400" cap="flat" cmpd="sng">
              <a:solidFill>
                <a:srgbClr val="5B5854"/>
              </a:solidFill>
              <a:prstDash val="dashDot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25400" cap="flat" cmpd="sng">
              <a:solidFill>
                <a:srgbClr val="5B5854"/>
              </a:solidFill>
              <a:prstDash val="dashDot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 b="off" i="off"/>
      <a:tcStyle>
        <a:tcBdr/>
        <a:fill>
          <a:solidFill>
            <a:srgbClr val="A8DFCA">
              <a:alpha val="16862"/>
            </a:srgbClr>
          </a:solidFill>
        </a:fill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 b="on" i="off">
        <a:font>
          <a:latin typeface="Helvetica Neue"/>
          <a:ea typeface="Helvetica Neue"/>
          <a:cs typeface="Helvetica Neue"/>
        </a:font>
        <a:srgbClr val="5B5854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381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809E35">
              <a:alpha val="9803"/>
            </a:srgb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5B5854"/>
      </a:tcTxStyle>
      <a:tcStyle>
        <a:tcBdr>
          <a:left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381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Helvetica Neue"/>
          <a:ea typeface="Helvetica Neue"/>
          <a:cs typeface="Helvetica Neue"/>
        </a:font>
        <a:srgbClr val="5B5854"/>
      </a:tcTxStyle>
      <a:tcStyle>
        <a:tcBdr>
          <a:left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381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rgbClr val="5B5854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619E5C">
              <a:alpha val="14901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17" autoAdjust="0"/>
    <p:restoredTop sz="94660"/>
  </p:normalViewPr>
  <p:slideViewPr>
    <p:cSldViewPr snapToGrid="0">
      <p:cViewPr varScale="1">
        <p:scale>
          <a:sx n="154" d="100"/>
          <a:sy n="154" d="100"/>
        </p:scale>
        <p:origin x="1051" y="7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3" d="100"/>
          <a:sy n="113" d="100"/>
        </p:scale>
        <p:origin x="5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font" Target="fonts/font23.fntdata"/><Relationship Id="rId47" Type="http://schemas.openxmlformats.org/officeDocument/2006/relationships/font" Target="fonts/font28.fntdata"/><Relationship Id="rId50" Type="http://schemas.openxmlformats.org/officeDocument/2006/relationships/font" Target="fonts/font31.fntdata"/><Relationship Id="rId55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openxmlformats.org/officeDocument/2006/relationships/font" Target="fonts/font2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41" Type="http://schemas.openxmlformats.org/officeDocument/2006/relationships/font" Target="fonts/font22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font" Target="fonts/font21.fntdata"/><Relationship Id="rId45" Type="http://schemas.openxmlformats.org/officeDocument/2006/relationships/font" Target="fonts/font26.fntdata"/><Relationship Id="rId53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49" Type="http://schemas.openxmlformats.org/officeDocument/2006/relationships/font" Target="fonts/font30.fntdata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4" Type="http://schemas.openxmlformats.org/officeDocument/2006/relationships/font" Target="fonts/font25.fntdata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font" Target="fonts/font24.fntdata"/><Relationship Id="rId48" Type="http://schemas.openxmlformats.org/officeDocument/2006/relationships/font" Target="fonts/font29.fntdata"/><Relationship Id="rId56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font" Target="fonts/font32.fntdata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023016341570591"/>
          <c:y val="9.2451100915602588E-2"/>
          <c:w val="0.70708949565584622"/>
          <c:h val="0.620355309079644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5A2C-4FC6-8F38-A5D9F6E079A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5A2C-4FC6-8F38-A5D9F6E079A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5-5A2C-4FC6-8F38-A5D9F6E079A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7-5A2C-4FC6-8F38-A5D9F6E079AD}"/>
              </c:ext>
            </c:extLst>
          </c:dPt>
          <c:dLbls>
            <c:dLbl>
              <c:idx val="0"/>
              <c:layout>
                <c:manualLayout>
                  <c:x val="-0.23761498810010237"/>
                  <c:y val="-6.3730816985125241E-2"/>
                </c:manualLayout>
              </c:layout>
              <c:tx>
                <c:rich>
                  <a:bodyPr/>
                  <a:lstStyle/>
                  <a:p>
                    <a:fld id="{42616D18-CFCE-4ECF-9DE5-FCB75DF154DA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A2C-4FC6-8F38-A5D9F6E079AD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FCAB8254-B880-4FFE-A139-D83A222FC7BC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A2C-4FC6-8F38-A5D9F6E079AD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CE3C34E6-88A0-4191-B21F-540D11ACC747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A2C-4FC6-8F38-A5D9F6E079AD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A241521A-3483-456C-B1BC-EEDB2C65F655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A2C-4FC6-8F38-A5D9F6E079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Амортизация 
29 413 265 тыс. тенге</c:v>
                </c:pt>
                <c:pt idx="1">
                  <c:v>Техническое и сервисное обслуживание  
13 023 443 тыс. тенге</c:v>
                </c:pt>
                <c:pt idx="2">
                  <c:v>Газ на СНиТП 
6 382 728 тыс. тенге</c:v>
                </c:pt>
                <c:pt idx="3">
                  <c:v>Прочие затраты 
4 649 341 тыс. тенге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55000000000000004</c:v>
                </c:pt>
                <c:pt idx="1">
                  <c:v>0.24</c:v>
                </c:pt>
                <c:pt idx="2">
                  <c:v>0.12</c:v>
                </c:pt>
                <c:pt idx="3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A2C-4FC6-8F38-A5D9F6E079AD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"/>
          <c:y val="0.60782723085560963"/>
          <c:w val="1"/>
          <c:h val="0.377843881040252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48835953963655"/>
          <c:y val="9.8886635607188481E-2"/>
          <c:w val="0.65240893691218627"/>
          <c:h val="0.5731613880080145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6CBF-46D5-AA15-41CD40AEE5D9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6CBF-46D5-AA15-41CD40AEE5D9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5-6CBF-46D5-AA15-41CD40AEE5D9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43619388-179E-42F1-9E85-85971684F718}" type="PERCENTAGE">
                      <a:rPr lang="en-US" baseline="0" smtClean="0"/>
                      <a:pPr/>
                      <a:t>[ПРОЦЕНТ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CBF-46D5-AA15-41CD40AEE5D9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CF5E36C-D9B2-4152-9816-BA9E05D92CCD}" type="PERCENTAGE">
                      <a:rPr lang="en-US" baseline="0" smtClean="0"/>
                      <a:pPr/>
                      <a:t>[ПРОЦЕНТ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CBF-46D5-AA15-41CD40AEE5D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F364B7F-099E-4328-AB87-4CFF0FCA249C}" type="PERCENTAGE">
                      <a:rPr lang="en-US" baseline="0" smtClean="0"/>
                      <a:pPr/>
                      <a:t>[ПРОЦЕНТ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CBF-46D5-AA15-41CD40AEE5D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lt1">
                      <a:lumMod val="95000"/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Расходы на выплату возгнаграждений 
10 549 399    тыс. тенге</c:v>
                </c:pt>
                <c:pt idx="1">
                  <c:v>Общие и административные расходы 
5 061 676  тыс. тенге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68</c:v>
                </c:pt>
                <c:pt idx="1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CBF-46D5-AA15-41CD40AEE5D9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5.6903201437743016E-2"/>
          <c:y val="0.55491284664475549"/>
          <c:w val="0.81839541280960049"/>
          <c:h val="0.206883691138927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8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8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21463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768" y="4715909"/>
            <a:ext cx="5438140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92076" rIns="92076" bIns="92076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863" y="517525"/>
            <a:ext cx="4597400" cy="2587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624463" y="3275215"/>
            <a:ext cx="3434531" cy="3102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3716" tIns="31848" rIns="63716" bIns="31848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82249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135414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582841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725438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75655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3217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587408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69352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1927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89474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99408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928161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9567f43248_2_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5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11" name="Google Shape;11;g9567f43248_2_61:notes"/>
          <p:cNvSpPr txBox="1">
            <a:spLocks noGrp="1"/>
          </p:cNvSpPr>
          <p:nvPr>
            <p:ph type="body" idx="1"/>
          </p:nvPr>
        </p:nvSpPr>
        <p:spPr>
          <a:xfrm>
            <a:off x="906358" y="4715909"/>
            <a:ext cx="4984962" cy="44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076" tIns="46025" rIns="92076" bIns="46025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30715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tags" Target="../tags/tag33.xml"/><Relationship Id="rId11" Type="http://schemas.openxmlformats.org/officeDocument/2006/relationships/image" Target="../media/image2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2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2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10" Type="http://schemas.openxmlformats.org/officeDocument/2006/relationships/image" Target="../media/image2.emf"/><Relationship Id="rId4" Type="http://schemas.openxmlformats.org/officeDocument/2006/relationships/tags" Target="../tags/tag53.xml"/><Relationship Id="rId9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tags" Target="../tags/tag61.xml"/><Relationship Id="rId11" Type="http://schemas.openxmlformats.org/officeDocument/2006/relationships/image" Target="../media/image2.emf"/><Relationship Id="rId5" Type="http://schemas.openxmlformats.org/officeDocument/2006/relationships/tags" Target="../tags/tag60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9.xml"/><Relationship Id="rId9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8.vml"/><Relationship Id="rId6" Type="http://schemas.openxmlformats.org/officeDocument/2006/relationships/tags" Target="../tags/tag68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1.emf"/><Relationship Id="rId2" Type="http://schemas.openxmlformats.org/officeDocument/2006/relationships/tags" Target="../tags/tag72.xml"/><Relationship Id="rId1" Type="http://schemas.openxmlformats.org/officeDocument/2006/relationships/vmlDrawing" Target="../drawings/vmlDrawing9.vml"/><Relationship Id="rId6" Type="http://schemas.openxmlformats.org/officeDocument/2006/relationships/tags" Target="../tags/tag76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4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82.xml"/><Relationship Id="rId9" Type="http://schemas.openxmlformats.org/officeDocument/2006/relationships/tags" Target="../tags/tag87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2.xml"/><Relationship Id="rId11" Type="http://schemas.openxmlformats.org/officeDocument/2006/relationships/image" Target="../media/image4.emf"/><Relationship Id="rId5" Type="http://schemas.openxmlformats.org/officeDocument/2006/relationships/tags" Target="../tags/tag91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10" Type="http://schemas.openxmlformats.org/officeDocument/2006/relationships/image" Target="../media/image2.emf"/><Relationship Id="rId4" Type="http://schemas.openxmlformats.org/officeDocument/2006/relationships/tags" Target="../tags/tag105.xml"/><Relationship Id="rId9" Type="http://schemas.openxmlformats.org/officeDocument/2006/relationships/oleObject" Target="../embeddings/oleObject14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0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12.xml"/><Relationship Id="rId4" Type="http://schemas.openxmlformats.org/officeDocument/2006/relationships/tags" Target="../tags/tag11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5" Type="http://schemas.openxmlformats.org/officeDocument/2006/relationships/tags" Target="../tags/tag118.xml"/><Relationship Id="rId10" Type="http://schemas.openxmlformats.org/officeDocument/2006/relationships/tags" Target="../tags/tag123.xml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2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Relationship Id="rId9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9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ject Plan Dark">
  <p:cSld name="CUSTOM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42900"/>
            <a:ext cx="2949179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3"/>
            <a:ext cx="4629151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91" indent="0">
              <a:buNone/>
              <a:defRPr sz="2100"/>
            </a:lvl2pPr>
            <a:lvl3pPr marL="685783" indent="0">
              <a:buNone/>
              <a:defRPr sz="1800"/>
            </a:lvl3pPr>
            <a:lvl4pPr marL="1028674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9" indent="0">
              <a:buNone/>
              <a:defRPr sz="1500"/>
            </a:lvl7pPr>
            <a:lvl8pPr marL="2400240" indent="0">
              <a:buNone/>
              <a:defRPr sz="1500"/>
            </a:lvl8pPr>
            <a:lvl9pPr marL="2743131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3" y="1543054"/>
            <a:ext cx="2949179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53950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89122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273848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48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33427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 type="title">
  <p:cSld name="Background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0082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83" indent="0" algn="ctr">
              <a:buNone/>
              <a:defRPr sz="1500"/>
            </a:lvl2pPr>
            <a:lvl3pPr marL="685766" indent="0" algn="ctr">
              <a:buNone/>
              <a:defRPr sz="1351"/>
            </a:lvl3pPr>
            <a:lvl4pPr marL="1028648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3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51250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4879236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1" y="1282309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1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8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993816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4273579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3" indent="0">
              <a:buNone/>
              <a:defRPr sz="1500" b="1"/>
            </a:lvl2pPr>
            <a:lvl3pPr marL="685766" indent="0">
              <a:buNone/>
              <a:defRPr sz="1351" b="1"/>
            </a:lvl3pPr>
            <a:lvl4pPr marL="1028648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3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8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3" indent="0">
              <a:buNone/>
              <a:defRPr sz="1500" b="1"/>
            </a:lvl2pPr>
            <a:lvl3pPr marL="685766" indent="0">
              <a:buNone/>
              <a:defRPr sz="1351" b="1"/>
            </a:lvl3pPr>
            <a:lvl4pPr marL="1028648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3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8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9580305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6223894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75375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0232460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4" y="342900"/>
            <a:ext cx="2949179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2" y="740574"/>
            <a:ext cx="4629151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4" y="1543055"/>
            <a:ext cx="2949179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83" indent="0">
              <a:buNone/>
              <a:defRPr sz="1051"/>
            </a:lvl2pPr>
            <a:lvl3pPr marL="685766" indent="0">
              <a:buNone/>
              <a:defRPr sz="900"/>
            </a:lvl3pPr>
            <a:lvl4pPr marL="1028648" indent="0">
              <a:buNone/>
              <a:defRPr sz="751"/>
            </a:lvl4pPr>
            <a:lvl5pPr marL="1371532" indent="0">
              <a:buNone/>
              <a:defRPr sz="751"/>
            </a:lvl5pPr>
            <a:lvl6pPr marL="1714415" indent="0">
              <a:buNone/>
              <a:defRPr sz="751"/>
            </a:lvl6pPr>
            <a:lvl7pPr marL="2057297" indent="0">
              <a:buNone/>
              <a:defRPr sz="751"/>
            </a:lvl7pPr>
            <a:lvl8pPr marL="2400180" indent="0">
              <a:buNone/>
              <a:defRPr sz="751"/>
            </a:lvl8pPr>
            <a:lvl9pPr marL="2743063" indent="0">
              <a:buNone/>
              <a:defRPr sz="7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054073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4" y="342900"/>
            <a:ext cx="2949179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2" y="740574"/>
            <a:ext cx="4629151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83" indent="0">
              <a:buNone/>
              <a:defRPr sz="2100"/>
            </a:lvl2pPr>
            <a:lvl3pPr marL="685766" indent="0">
              <a:buNone/>
              <a:defRPr sz="1800"/>
            </a:lvl3pPr>
            <a:lvl4pPr marL="1028648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3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4" y="1543055"/>
            <a:ext cx="2949179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83" indent="0">
              <a:buNone/>
              <a:defRPr sz="1051"/>
            </a:lvl2pPr>
            <a:lvl3pPr marL="685766" indent="0">
              <a:buNone/>
              <a:defRPr sz="900"/>
            </a:lvl3pPr>
            <a:lvl4pPr marL="1028648" indent="0">
              <a:buNone/>
              <a:defRPr sz="751"/>
            </a:lvl4pPr>
            <a:lvl5pPr marL="1371532" indent="0">
              <a:buNone/>
              <a:defRPr sz="751"/>
            </a:lvl5pPr>
            <a:lvl6pPr marL="1714415" indent="0">
              <a:buNone/>
              <a:defRPr sz="751"/>
            </a:lvl6pPr>
            <a:lvl7pPr marL="2057297" indent="0">
              <a:buNone/>
              <a:defRPr sz="751"/>
            </a:lvl7pPr>
            <a:lvl8pPr marL="2400180" indent="0">
              <a:buNone/>
              <a:defRPr sz="751"/>
            </a:lvl8pPr>
            <a:lvl9pPr marL="2743063" indent="0">
              <a:buNone/>
              <a:defRPr sz="7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809911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1701477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7" y="273849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49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027146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 type="title">
  <p:cSld name="Background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33474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Слайд think-cell" r:id="rId10" imgW="592" imgH="591" progId="TCLayout.ActiveDocument.1">
                  <p:embed/>
                </p:oleObj>
              </mc:Choice>
              <mc:Fallback>
                <p:oleObj name="Слайд think-cell" r:id="rId10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/>
        </p:nvGrpSpPr>
        <p:grpSpPr>
          <a:xfrm>
            <a:off x="414127" y="-1"/>
            <a:ext cx="2226443" cy="5144196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 sz="10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 sz="105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58931" y="4564220"/>
            <a:ext cx="5667161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05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058931" y="3889450"/>
            <a:ext cx="5667161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5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058931" y="1636879"/>
            <a:ext cx="5667161" cy="18697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39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/>
        </p:nvGrpSpPr>
        <p:grpSpPr>
          <a:xfrm>
            <a:off x="7361228" y="248964"/>
            <a:ext cx="1364864" cy="168734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/>
        </p:nvGrpSpPr>
        <p:grpSpPr>
          <a:xfrm>
            <a:off x="7361230" y="453502"/>
            <a:ext cx="849122" cy="51863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graphicFrame>
        <p:nvGraphicFramePr>
          <p:cNvPr id="48" name="Object 6" hidden="1">
            <a:extLst>
              <a:ext uri="{FF2B5EF4-FFF2-40B4-BE49-F238E27FC236}">
                <a16:creationId xmlns:a16="http://schemas.microsoft.com/office/drawing/2014/main" id="{3BFDB83E-EBA2-4C32-9BC6-79CAD3FA7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48" name="Object 6" hidden="1">
                        <a:extLst>
                          <a:ext uri="{FF2B5EF4-FFF2-40B4-BE49-F238E27FC236}">
                            <a16:creationId xmlns:a16="http://schemas.microsoft.com/office/drawing/2014/main" id="{3BFDB83E-EBA2-4C32-9BC6-79CAD3FA7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1" hidden="1">
            <a:extLst>
              <a:ext uri="{FF2B5EF4-FFF2-40B4-BE49-F238E27FC236}">
                <a16:creationId xmlns:a16="http://schemas.microsoft.com/office/drawing/2014/main" id="{D9BA516A-7E4D-42E5-8FE1-6F3028160A9E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0" name="Group 8">
            <a:extLst>
              <a:ext uri="{FF2B5EF4-FFF2-40B4-BE49-F238E27FC236}">
                <a16:creationId xmlns:a16="http://schemas.microsoft.com/office/drawing/2014/main" id="{D30E5B8C-4FA6-4F11-84B6-AE7C00730CEE}"/>
              </a:ext>
            </a:extLst>
          </p:cNvPr>
          <p:cNvGrpSpPr/>
          <p:nvPr userDrawn="1"/>
        </p:nvGrpSpPr>
        <p:grpSpPr>
          <a:xfrm>
            <a:off x="414127" y="-1"/>
            <a:ext cx="2226443" cy="5144196"/>
            <a:chOff x="552168" y="-1"/>
            <a:chExt cx="2968591" cy="6858928"/>
          </a:xfrm>
          <a:effectLst/>
        </p:grpSpPr>
        <p:sp>
          <p:nvSpPr>
            <p:cNvPr id="51" name="Freeform: Shape 9">
              <a:extLst>
                <a:ext uri="{FF2B5EF4-FFF2-40B4-BE49-F238E27FC236}">
                  <a16:creationId xmlns:a16="http://schemas.microsoft.com/office/drawing/2014/main" id="{233A3A3B-AF25-4CBB-93D9-D250D73FCC49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52" name="Freeform: Shape 10">
              <a:extLst>
                <a:ext uri="{FF2B5EF4-FFF2-40B4-BE49-F238E27FC236}">
                  <a16:creationId xmlns:a16="http://schemas.microsoft.com/office/drawing/2014/main" id="{97C12709-BB2F-4CD8-AF01-6E94B05EE9DB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 sz="1050"/>
            </a:p>
          </p:txBody>
        </p:sp>
        <p:sp>
          <p:nvSpPr>
            <p:cNvPr id="53" name="Freeform: Shape 11">
              <a:extLst>
                <a:ext uri="{FF2B5EF4-FFF2-40B4-BE49-F238E27FC236}">
                  <a16:creationId xmlns:a16="http://schemas.microsoft.com/office/drawing/2014/main" id="{78AAF447-2178-44FB-9D1D-916BB19F99CF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 sz="1050"/>
            </a:p>
          </p:txBody>
        </p:sp>
      </p:grpSp>
      <p:grpSp>
        <p:nvGrpSpPr>
          <p:cNvPr id="54" name="Group 22">
            <a:extLst>
              <a:ext uri="{FF2B5EF4-FFF2-40B4-BE49-F238E27FC236}">
                <a16:creationId xmlns:a16="http://schemas.microsoft.com/office/drawing/2014/main" id="{EC44FDF0-FE07-4818-89E1-F6AD3B33F553}"/>
              </a:ext>
            </a:extLst>
          </p:cNvPr>
          <p:cNvGrpSpPr/>
          <p:nvPr userDrawn="1"/>
        </p:nvGrpSpPr>
        <p:grpSpPr>
          <a:xfrm>
            <a:off x="7361228" y="248964"/>
            <a:ext cx="1364864" cy="168734"/>
            <a:chOff x="4422203" y="1048348"/>
            <a:chExt cx="1819818" cy="224978"/>
          </a:xfrm>
        </p:grpSpPr>
        <p:sp>
          <p:nvSpPr>
            <p:cNvPr id="55" name="Freeform: Shape 23">
              <a:extLst>
                <a:ext uri="{FF2B5EF4-FFF2-40B4-BE49-F238E27FC236}">
                  <a16:creationId xmlns:a16="http://schemas.microsoft.com/office/drawing/2014/main" id="{BA919493-39C0-4485-9F52-205A0D9BD79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56" name="Freeform: Shape 24">
              <a:extLst>
                <a:ext uri="{FF2B5EF4-FFF2-40B4-BE49-F238E27FC236}">
                  <a16:creationId xmlns:a16="http://schemas.microsoft.com/office/drawing/2014/main" id="{DFC5763B-0C41-496C-A380-51F5EE6F9F6A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57" name="Freeform: Shape 25">
              <a:extLst>
                <a:ext uri="{FF2B5EF4-FFF2-40B4-BE49-F238E27FC236}">
                  <a16:creationId xmlns:a16="http://schemas.microsoft.com/office/drawing/2014/main" id="{6B0D4190-45F8-448D-A6E5-83D263E1B822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58" name="Freeform: Shape 26">
              <a:extLst>
                <a:ext uri="{FF2B5EF4-FFF2-40B4-BE49-F238E27FC236}">
                  <a16:creationId xmlns:a16="http://schemas.microsoft.com/office/drawing/2014/main" id="{3E6798A7-13B2-4893-9299-CDBD0A64CE90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59" name="Freeform: Shape 27">
              <a:extLst>
                <a:ext uri="{FF2B5EF4-FFF2-40B4-BE49-F238E27FC236}">
                  <a16:creationId xmlns:a16="http://schemas.microsoft.com/office/drawing/2014/main" id="{0C123E6D-7174-4AF5-962E-DFF38A0612A1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0" name="Freeform: Shape 28">
              <a:extLst>
                <a:ext uri="{FF2B5EF4-FFF2-40B4-BE49-F238E27FC236}">
                  <a16:creationId xmlns:a16="http://schemas.microsoft.com/office/drawing/2014/main" id="{8AD823B0-47FC-495D-9B48-0C48E6DA4C8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1" name="Freeform: Shape 29">
              <a:extLst>
                <a:ext uri="{FF2B5EF4-FFF2-40B4-BE49-F238E27FC236}">
                  <a16:creationId xmlns:a16="http://schemas.microsoft.com/office/drawing/2014/main" id="{2D49911E-CCE4-4A0E-88D8-81E9EA19895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2" name="Freeform: Shape 30">
              <a:extLst>
                <a:ext uri="{FF2B5EF4-FFF2-40B4-BE49-F238E27FC236}">
                  <a16:creationId xmlns:a16="http://schemas.microsoft.com/office/drawing/2014/main" id="{C35479C2-47F0-4294-832A-F050D523F26E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grpSp>
        <p:nvGrpSpPr>
          <p:cNvPr id="63" name="Group 31">
            <a:extLst>
              <a:ext uri="{FF2B5EF4-FFF2-40B4-BE49-F238E27FC236}">
                <a16:creationId xmlns:a16="http://schemas.microsoft.com/office/drawing/2014/main" id="{BC900C69-4B65-4320-95D2-384433AB69DB}"/>
              </a:ext>
            </a:extLst>
          </p:cNvPr>
          <p:cNvGrpSpPr/>
          <p:nvPr userDrawn="1"/>
        </p:nvGrpSpPr>
        <p:grpSpPr>
          <a:xfrm>
            <a:off x="7361230" y="453502"/>
            <a:ext cx="849122" cy="51863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64" name="Freeform: Shape 32">
              <a:extLst>
                <a:ext uri="{FF2B5EF4-FFF2-40B4-BE49-F238E27FC236}">
                  <a16:creationId xmlns:a16="http://schemas.microsoft.com/office/drawing/2014/main" id="{55E7381A-9371-42A4-8811-F8A1C17F7ADC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5" name="Freeform: Shape 33">
              <a:extLst>
                <a:ext uri="{FF2B5EF4-FFF2-40B4-BE49-F238E27FC236}">
                  <a16:creationId xmlns:a16="http://schemas.microsoft.com/office/drawing/2014/main" id="{3F5CB673-FB1E-402C-96AC-B362A3040602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6" name="Freeform: Shape 34">
              <a:extLst>
                <a:ext uri="{FF2B5EF4-FFF2-40B4-BE49-F238E27FC236}">
                  <a16:creationId xmlns:a16="http://schemas.microsoft.com/office/drawing/2014/main" id="{08FD072B-E620-45D5-B382-06F9C44900DE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7" name="Freeform: Shape 35">
              <a:extLst>
                <a:ext uri="{FF2B5EF4-FFF2-40B4-BE49-F238E27FC236}">
                  <a16:creationId xmlns:a16="http://schemas.microsoft.com/office/drawing/2014/main" id="{BA75F700-3A35-400A-94EF-6DF3AEEB8775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8" name="Freeform: Shape 36">
              <a:extLst>
                <a:ext uri="{FF2B5EF4-FFF2-40B4-BE49-F238E27FC236}">
                  <a16:creationId xmlns:a16="http://schemas.microsoft.com/office/drawing/2014/main" id="{2F3D33FC-1979-4B1F-B29B-061CD1AF9A06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69" name="Freeform: Shape 37">
              <a:extLst>
                <a:ext uri="{FF2B5EF4-FFF2-40B4-BE49-F238E27FC236}">
                  <a16:creationId xmlns:a16="http://schemas.microsoft.com/office/drawing/2014/main" id="{D05EE0FA-6586-4EB2-87C6-B8C995E6B9A5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0" name="Freeform: Shape 38">
              <a:extLst>
                <a:ext uri="{FF2B5EF4-FFF2-40B4-BE49-F238E27FC236}">
                  <a16:creationId xmlns:a16="http://schemas.microsoft.com/office/drawing/2014/main" id="{527BCE77-28BF-499E-A0D2-10C548E61C1F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1" name="Freeform: Shape 39">
              <a:extLst>
                <a:ext uri="{FF2B5EF4-FFF2-40B4-BE49-F238E27FC236}">
                  <a16:creationId xmlns:a16="http://schemas.microsoft.com/office/drawing/2014/main" id="{3BA30658-AAB6-4CB7-B42D-DC90A19444EC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2" name="Freeform: Shape 40">
              <a:extLst>
                <a:ext uri="{FF2B5EF4-FFF2-40B4-BE49-F238E27FC236}">
                  <a16:creationId xmlns:a16="http://schemas.microsoft.com/office/drawing/2014/main" id="{184BDF17-4775-4368-8B93-8B5487A43964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3" name="Freeform: Shape 41">
              <a:extLst>
                <a:ext uri="{FF2B5EF4-FFF2-40B4-BE49-F238E27FC236}">
                  <a16:creationId xmlns:a16="http://schemas.microsoft.com/office/drawing/2014/main" id="{E559CEA3-3669-41AD-B662-354A7A2A0C00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4" name="Freeform: Shape 42">
              <a:extLst>
                <a:ext uri="{FF2B5EF4-FFF2-40B4-BE49-F238E27FC236}">
                  <a16:creationId xmlns:a16="http://schemas.microsoft.com/office/drawing/2014/main" id="{797F430E-2D8B-4A4F-9E78-D4DF016879FB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5" name="Freeform: Shape 43">
              <a:extLst>
                <a:ext uri="{FF2B5EF4-FFF2-40B4-BE49-F238E27FC236}">
                  <a16:creationId xmlns:a16="http://schemas.microsoft.com/office/drawing/2014/main" id="{56307840-272D-42EE-A470-AEEA6F837B4C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6" name="Freeform: Shape 44">
              <a:extLst>
                <a:ext uri="{FF2B5EF4-FFF2-40B4-BE49-F238E27FC236}">
                  <a16:creationId xmlns:a16="http://schemas.microsoft.com/office/drawing/2014/main" id="{CC995CAB-8AB2-45A7-A42F-2DA5BA317291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7" name="Freeform: Shape 45">
              <a:extLst>
                <a:ext uri="{FF2B5EF4-FFF2-40B4-BE49-F238E27FC236}">
                  <a16:creationId xmlns:a16="http://schemas.microsoft.com/office/drawing/2014/main" id="{2A8FB128-0E92-4580-8518-7C50A8740026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78" name="Freeform: Shape 46">
              <a:extLst>
                <a:ext uri="{FF2B5EF4-FFF2-40B4-BE49-F238E27FC236}">
                  <a16:creationId xmlns:a16="http://schemas.microsoft.com/office/drawing/2014/main" id="{2537E406-2282-453F-882D-8B56B657DBFF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</p:spTree>
    <p:extLst>
      <p:ext uri="{BB962C8B-B14F-4D97-AF65-F5344CB8AC3E}">
        <p14:creationId xmlns:p14="http://schemas.microsoft.com/office/powerpoint/2010/main" val="3326290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2" name="Слайд think-cell" r:id="rId6" imgW="413" imgH="416" progId="TCLayout.ActiveDocument.1">
                  <p:embed/>
                </p:oleObj>
              </mc:Choice>
              <mc:Fallback>
                <p:oleObj name="Слайд think-cell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600" dirty="0"/>
              <a:t>Источник: …</a:t>
            </a:r>
          </a:p>
        </p:txBody>
      </p:sp>
      <p:sp>
        <p:nvSpPr>
          <p:cNvPr id="9" name="Прямоугольник: один усеченный угол 8">
            <a:extLst>
              <a:ext uri="{FF2B5EF4-FFF2-40B4-BE49-F238E27FC236}">
                <a16:creationId xmlns:a16="http://schemas.microsoft.com/office/drawing/2014/main" id="{89E66F83-345F-427C-8E6C-1061622CDE45}"/>
              </a:ext>
            </a:extLst>
          </p:cNvPr>
          <p:cNvSpPr/>
          <p:nvPr userDrawn="1"/>
        </p:nvSpPr>
        <p:spPr>
          <a:xfrm flipH="1">
            <a:off x="-1" y="0"/>
            <a:ext cx="9143999" cy="555883"/>
          </a:xfrm>
          <a:prstGeom prst="snip1Rect">
            <a:avLst>
              <a:gd name="adj" fmla="val 0"/>
            </a:avLst>
          </a:prstGeom>
          <a:solidFill>
            <a:srgbClr val="F6F7F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10" name="Google Shape;21;p28">
            <a:extLst>
              <a:ext uri="{FF2B5EF4-FFF2-40B4-BE49-F238E27FC236}">
                <a16:creationId xmlns:a16="http://schemas.microsoft.com/office/drawing/2014/main" id="{7977C4D5-5857-4DDC-A655-894AF540C5CD}"/>
              </a:ext>
            </a:extLst>
          </p:cNvPr>
          <p:cNvSpPr/>
          <p:nvPr userDrawn="1"/>
        </p:nvSpPr>
        <p:spPr>
          <a:xfrm>
            <a:off x="-1" y="549238"/>
            <a:ext cx="9144900" cy="12956"/>
          </a:xfrm>
          <a:prstGeom prst="rect">
            <a:avLst/>
          </a:prstGeom>
          <a:solidFill>
            <a:srgbClr val="282F5C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SzPts val="1114"/>
            </a:pPr>
            <a:endParaRPr sz="836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Прямоугольник: один усеченный угол 11">
            <a:extLst>
              <a:ext uri="{FF2B5EF4-FFF2-40B4-BE49-F238E27FC236}">
                <a16:creationId xmlns:a16="http://schemas.microsoft.com/office/drawing/2014/main" id="{9BB22C7B-0601-4346-BBBA-8D6165924512}"/>
              </a:ext>
            </a:extLst>
          </p:cNvPr>
          <p:cNvSpPr/>
          <p:nvPr userDrawn="1"/>
        </p:nvSpPr>
        <p:spPr>
          <a:xfrm flipH="1">
            <a:off x="7271657" y="1"/>
            <a:ext cx="1872342" cy="538751"/>
          </a:xfrm>
          <a:prstGeom prst="snip1Rect">
            <a:avLst>
              <a:gd name="adj" fmla="val 5000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24AAB1B-00BD-42CC-80A2-1CB15D566B7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972" y="109304"/>
            <a:ext cx="1505517" cy="362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9780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6" name="Слайд think-cell" r:id="rId9" imgW="592" imgH="591" progId="TCLayout.ActiveDocument.1">
                  <p:embed/>
                </p:oleObj>
              </mc:Choice>
              <mc:Fallback>
                <p:oleObj name="Слайд think-cell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79923"/>
            <a:ext cx="2859786" cy="57708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95883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0" name="Слайд think-cell" r:id="rId9" imgW="592" imgH="591" progId="TCLayout.ActiveDocument.1">
                  <p:embed/>
                </p:oleObj>
              </mc:Choice>
              <mc:Fallback>
                <p:oleObj name="Слайд think-cell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93943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932037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Слайд think-cell" r:id="rId9" imgW="592" imgH="591" progId="TCLayout.ActiveDocument.1">
                  <p:embed/>
                </p:oleObj>
              </mc:Choice>
              <mc:Fallback>
                <p:oleObj name="Слайд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1024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8" name="Слайд think-cell" r:id="rId10" imgW="592" imgH="591" progId="TCLayout.ActiveDocument.1">
                  <p:embed/>
                </p:oleObj>
              </mc:Choice>
              <mc:Fallback>
                <p:oleObj name="Слайд think-cell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25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4755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3246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/>
        </p:nvSpPr>
        <p:spPr>
          <a:xfrm rot="10800000" flipH="1" flipV="1">
            <a:off x="2326362" y="2383"/>
            <a:ext cx="233959" cy="5141117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050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0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4"/>
            <a:ext cx="188595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200" b="0" baseline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/>
        </p:nvGrpSpPr>
        <p:grpSpPr>
          <a:xfrm>
            <a:off x="8507078" y="169968"/>
            <a:ext cx="220870" cy="514975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</p:spTree>
    <p:extLst>
      <p:ext uri="{BB962C8B-B14F-4D97-AF65-F5344CB8AC3E}">
        <p14:creationId xmlns:p14="http://schemas.microsoft.com/office/powerpoint/2010/main" val="6816844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6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0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2744733"/>
            <a:ext cx="2599181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200" b="0" baseline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/>
        </p:nvGrpSpPr>
        <p:grpSpPr>
          <a:xfrm>
            <a:off x="8507078" y="169968"/>
            <a:ext cx="220870" cy="514975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/>
        </p:nvSpPr>
        <p:spPr>
          <a:xfrm rot="10800000" flipH="1" flipV="1">
            <a:off x="3039594" y="2383"/>
            <a:ext cx="233959" cy="5141117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050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0856621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0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0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3" y="433120"/>
            <a:ext cx="3799332" cy="28854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751781"/>
            <a:ext cx="3799332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2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/>
        </p:nvGrpSpPr>
        <p:grpSpPr>
          <a:xfrm>
            <a:off x="8507078" y="169968"/>
            <a:ext cx="220870" cy="514975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/>
        </p:nvSpPr>
        <p:spPr>
          <a:xfrm rot="10800000" flipH="1" flipV="1">
            <a:off x="4335756" y="2383"/>
            <a:ext cx="233959" cy="5141117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050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8159128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Слайд think-cell" r:id="rId10" imgW="572" imgH="588" progId="TCLayout.ActiveDocument.1">
                  <p:embed/>
                </p:oleObj>
              </mc:Choice>
              <mc:Fallback>
                <p:oleObj name="Слайд think-cell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sz="10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/>
        </p:nvSpPr>
        <p:spPr>
          <a:xfrm rot="10800000" flipH="1" flipV="1">
            <a:off x="5638776" y="2383"/>
            <a:ext cx="233959" cy="5141117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sz="1050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3" y="433120"/>
            <a:ext cx="5225796" cy="28854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16052" y="751781"/>
            <a:ext cx="5225796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2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617556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8" name="Слайд think-cell" r:id="rId11" imgW="413" imgH="416" progId="TCLayout.ActiveDocument.1">
                  <p:embed/>
                </p:oleObj>
              </mc:Choice>
              <mc:Fallback>
                <p:oleObj name="Слайд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/>
        </p:nvGrpSpPr>
        <p:grpSpPr>
          <a:xfrm>
            <a:off x="6352104" y="0"/>
            <a:ext cx="2791897" cy="51435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050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sz="1050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433120"/>
            <a:ext cx="5939028" cy="28854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751781"/>
            <a:ext cx="5939028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200" b="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/>
        </p:nvGrpSpPr>
        <p:grpSpPr>
          <a:xfrm>
            <a:off x="8507078" y="169968"/>
            <a:ext cx="220870" cy="514975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</p:spTree>
    <p:extLst>
      <p:ext uri="{BB962C8B-B14F-4D97-AF65-F5344CB8AC3E}">
        <p14:creationId xmlns:p14="http://schemas.microsoft.com/office/powerpoint/2010/main" val="5227064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2" name="Слайд think-cell" r:id="rId9" imgW="592" imgH="591" progId="TCLayout.ActiveDocument.1">
                  <p:embed/>
                </p:oleObj>
              </mc:Choice>
              <mc:Fallback>
                <p:oleObj name="Слайд think-cell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721661"/>
            <a:ext cx="7849790" cy="28854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/>
        </p:nvGrpSpPr>
        <p:grpSpPr>
          <a:xfrm>
            <a:off x="8507078" y="169968"/>
            <a:ext cx="220870" cy="514975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</p:spTree>
    <p:extLst>
      <p:ext uri="{BB962C8B-B14F-4D97-AF65-F5344CB8AC3E}">
        <p14:creationId xmlns:p14="http://schemas.microsoft.com/office/powerpoint/2010/main" val="8228473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6" name="Слайд think-cell" r:id="rId7" imgW="592" imgH="591" progId="TCLayout.ActiveDocument.1">
                  <p:embed/>
                </p:oleObj>
              </mc:Choice>
              <mc:Fallback>
                <p:oleObj name="Слайд think-cell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/>
        </p:nvGrpSpPr>
        <p:grpSpPr>
          <a:xfrm>
            <a:off x="7981315" y="4912748"/>
            <a:ext cx="461126" cy="57008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/>
        </p:nvSpPr>
        <p:spPr>
          <a:xfrm>
            <a:off x="8511224" y="4885607"/>
            <a:ext cx="0" cy="92333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8483823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6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/>
        </p:nvGrpSpPr>
        <p:grpSpPr>
          <a:xfrm>
            <a:off x="8507078" y="169968"/>
            <a:ext cx="220870" cy="514975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</p:spTree>
    <p:extLst>
      <p:ext uri="{BB962C8B-B14F-4D97-AF65-F5344CB8AC3E}">
        <p14:creationId xmlns:p14="http://schemas.microsoft.com/office/powerpoint/2010/main" val="13992269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0" name="Слайд think-cell" r:id="rId5" imgW="592" imgH="591" progId="TCLayout.ActiveDocument.1">
                  <p:embed/>
                </p:oleObj>
              </mc:Choice>
              <mc:Fallback>
                <p:oleObj name="Слайд think-cell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6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/>
        </p:nvGrpSpPr>
        <p:grpSpPr>
          <a:xfrm>
            <a:off x="3127274" y="2224049"/>
            <a:ext cx="2889453" cy="6954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 sz="105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 sz="105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 sz="105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10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360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1" y="1282308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1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026960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4" name="Слайд think-cell" r:id="rId13" imgW="413" imgH="416" progId="TCLayout.ActiveDocument.1">
                  <p:embed/>
                </p:oleObj>
              </mc:Choice>
              <mc:Fallback>
                <p:oleObj name="Слайд think-cell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7606879" y="4874535"/>
            <a:ext cx="851195" cy="1038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416052" y="389258"/>
            <a:ext cx="5939028" cy="28854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416052" y="663544"/>
            <a:ext cx="5939028" cy="22288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6837426" y="66990"/>
            <a:ext cx="1892808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>
            <p:custDataLst>
              <p:tags r:id="rId11"/>
            </p:custDataLst>
          </p:nvPr>
        </p:nvCxnSpPr>
        <p:spPr>
          <a:xfrm>
            <a:off x="416052" y="4840327"/>
            <a:ext cx="831189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91699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8" name="Слайд think-cell" r:id="rId8" imgW="413" imgH="416" progId="TCLayout.ActiveDocument.1">
                  <p:embed/>
                </p:oleObj>
              </mc:Choice>
              <mc:Fallback>
                <p:oleObj name="Слайд think-cell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1" y="169968"/>
            <a:ext cx="8311896" cy="50783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ru-RU" sz="1035" dirty="0"/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3" y="718948"/>
            <a:ext cx="8311896" cy="1157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ru-RU" sz="752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16052" y="4885609"/>
            <a:ext cx="7977857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377" dirty="0"/>
              <a:t>Источник: …</a:t>
            </a:r>
          </a:p>
        </p:txBody>
      </p:sp>
      <p:sp>
        <p:nvSpPr>
          <p:cNvPr id="11" name="1. On-page tracker" hidden="1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201"/>
            <a:ext cx="2882504" cy="5794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ru-RU" sz="377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44368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2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5"/>
          <p:cNvSpPr/>
          <p:nvPr userDrawn="1"/>
        </p:nvSpPr>
        <p:spPr>
          <a:xfrm>
            <a:off x="0" y="0"/>
            <a:ext cx="9144000" cy="623247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69674" tIns="34841" rIns="69674" bIns="3484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kk-KZ" sz="1800" b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endParaRPr lang="en-US" sz="1800" b="1" kern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442221" y="0"/>
            <a:ext cx="8306725" cy="594000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18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4523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35482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6" name="Слайд think-cell" r:id="rId8" imgW="592" imgH="591" progId="TCLayout.ActiveDocument.1">
                  <p:embed/>
                </p:oleObj>
              </mc:Choice>
              <mc:Fallback>
                <p:oleObj name="Слайд think-cell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ru-RU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414127" y="-1"/>
            <a:ext cx="2226443" cy="5144196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 sz="105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 sz="105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 sz="105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58931" y="4564220"/>
            <a:ext cx="5667161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05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058931" y="3889450"/>
            <a:ext cx="5667161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5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058931" y="1636879"/>
            <a:ext cx="5667161" cy="18697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39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7361228" y="248964"/>
            <a:ext cx="1364864" cy="168734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7361230" y="453502"/>
            <a:ext cx="849122" cy="51863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050"/>
            </a:p>
          </p:txBody>
        </p:sp>
      </p:grpSp>
    </p:spTree>
    <p:extLst>
      <p:ext uri="{BB962C8B-B14F-4D97-AF65-F5344CB8AC3E}">
        <p14:creationId xmlns:p14="http://schemas.microsoft.com/office/powerpoint/2010/main" val="1491563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E4504-5A12-400E-B712-903CD8710C51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65C0E-FFAF-43E2-A83E-82C48D4556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3836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690130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7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7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73953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154922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03313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3" y="342900"/>
            <a:ext cx="2949179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3"/>
            <a:ext cx="4629151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3" y="1543054"/>
            <a:ext cx="2949179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1" indent="0">
              <a:buNone/>
              <a:defRPr sz="1051"/>
            </a:lvl2pPr>
            <a:lvl3pPr marL="685783" indent="0">
              <a:buNone/>
              <a:defRPr sz="900"/>
            </a:lvl3pPr>
            <a:lvl4pPr marL="1028674" indent="0">
              <a:buNone/>
              <a:defRPr sz="751"/>
            </a:lvl4pPr>
            <a:lvl5pPr marL="1371566" indent="0">
              <a:buNone/>
              <a:defRPr sz="751"/>
            </a:lvl5pPr>
            <a:lvl6pPr marL="1714457" indent="0">
              <a:buNone/>
              <a:defRPr sz="751"/>
            </a:lvl6pPr>
            <a:lvl7pPr marL="2057349" indent="0">
              <a:buNone/>
              <a:defRPr sz="751"/>
            </a:lvl7pPr>
            <a:lvl8pPr marL="2400240" indent="0">
              <a:buNone/>
              <a:defRPr sz="751"/>
            </a:lvl8pPr>
            <a:lvl9pPr marL="2743131" indent="0">
              <a:buNone/>
              <a:defRPr sz="75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676B31-AA3A-49BB-AFFB-F6DC3A2B6E62}" type="datetimeFigureOut">
              <a:rPr lang="ru-RU" smtClean="0"/>
              <a:t>10.04.202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860BAF-A74D-4B33-9EAF-FF1646A432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745758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3" Type="http://schemas.openxmlformats.org/officeDocument/2006/relationships/slideLayout" Target="../slideLayouts/slideLayout28.xml"/><Relationship Id="rId21" Type="http://schemas.openxmlformats.org/officeDocument/2006/relationships/vmlDrawing" Target="../drawings/vmlDrawing1.v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47" Type="http://schemas.openxmlformats.org/officeDocument/2006/relationships/tags" Target="../tags/tag26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46" Type="http://schemas.openxmlformats.org/officeDocument/2006/relationships/tags" Target="../tags/tag25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heme" Target="../theme/theme4.xml"/><Relationship Id="rId29" Type="http://schemas.openxmlformats.org/officeDocument/2006/relationships/tags" Target="../tags/tag8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tags" Target="../tags/tag24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49" Type="http://schemas.openxmlformats.org/officeDocument/2006/relationships/tags" Target="../tags/tag2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tags" Target="../tags/tag10.xml"/><Relationship Id="rId44" Type="http://schemas.openxmlformats.org/officeDocument/2006/relationships/tags" Target="../tags/tag23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tags" Target="../tags/tag22.xml"/><Relationship Id="rId48" Type="http://schemas.openxmlformats.org/officeDocument/2006/relationships/tags" Target="../tags/tag27.xml"/><Relationship Id="rId8" Type="http://schemas.openxmlformats.org/officeDocument/2006/relationships/slideLayout" Target="../slideLayouts/slideLayout33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slow">
        <p14:gallery dir="l"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3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3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3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604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mc:AlternateContent xmlns:mc="http://schemas.openxmlformats.org/markup-compatibility/2006" xmlns:p14="http://schemas.microsoft.com/office/powerpoint/2010/main">
    <mc:Choice Requires="p14">
      <p:transition spd="slow">
        <p14:gallery dir="l"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3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3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1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4/10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3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1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49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</p:sldLayoutIdLst>
  <mc:AlternateContent xmlns:mc="http://schemas.openxmlformats.org/markup-compatibility/2006" xmlns:p14="http://schemas.microsoft.com/office/powerpoint/2010/main">
    <mc:Choice Requires="p14">
      <p:transition spd="slow">
        <p14:gallery dir="l"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  <p:hf sldNum="0" hdr="0" ft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1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83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8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3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Слайд think-cell" r:id="rId50" imgW="413" imgH="416" progId="TCLayout.ActiveDocument.1">
                  <p:embed/>
                </p:oleObj>
              </mc:Choice>
              <mc:Fallback>
                <p:oleObj name="Слайд think-cell" r:id="rId5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sz="10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/>
            <a:r>
              <a:rPr lang="ru-RU" sz="600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416053" y="433120"/>
            <a:ext cx="7849790" cy="28854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/>
        </p:nvSpPr>
        <p:spPr>
          <a:xfrm>
            <a:off x="416052" y="1031249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sz="6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4490804" y="1628100"/>
            <a:ext cx="2455529" cy="53091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1200" dirty="0"/>
              <a:t>Над диаграммой Название выставки</a:t>
            </a:r>
            <a:r>
              <a:rPr lang="en-US" sz="1200" dirty="0"/>
              <a:t/>
            </a:r>
            <a:br>
              <a:rPr lang="en-US" sz="1200" dirty="0"/>
            </a:br>
            <a:r>
              <a:rPr lang="ru-RU" sz="105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2" y="1628101"/>
            <a:ext cx="2931236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/>
        </p:nvGrpSpPr>
        <p:grpSpPr>
          <a:xfrm>
            <a:off x="7709123" y="2362665"/>
            <a:ext cx="1058900" cy="718715"/>
            <a:chOff x="10162879" y="3243771"/>
            <a:chExt cx="1411866" cy="958287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3" y="3243771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3" y="3615192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3" y="3986614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05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/>
        </p:nvGrpSpPr>
        <p:grpSpPr>
          <a:xfrm>
            <a:off x="7987382" y="859030"/>
            <a:ext cx="780641" cy="1298894"/>
            <a:chOff x="7723680" y="1702457"/>
            <a:chExt cx="104085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8822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4"/>
              <a:ext cx="68822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3"/>
              <a:ext cx="68822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2"/>
              <a:ext cx="68822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3"/>
              <a:ext cx="68822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0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/>
        </p:nvGrpSpPr>
        <p:grpSpPr>
          <a:xfrm>
            <a:off x="8007245" y="3286124"/>
            <a:ext cx="760777" cy="1287961"/>
            <a:chOff x="10652400" y="4322823"/>
            <a:chExt cx="101436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7" y="4322823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7" y="4702322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7" y="5081819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7" y="5453241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1"/>
              <a:ext cx="68822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ru-RU" sz="1050" dirty="0"/>
                <a:t>Легенда</a:t>
              </a:r>
              <a:endParaRPr lang="en-US" sz="1050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3988594" y="1795463"/>
            <a:ext cx="2269671" cy="1215717"/>
            <a:chOff x="1016000" y="1016000"/>
            <a:chExt cx="3026228" cy="1620957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620957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300"/>
                </a:spcAft>
                <a:buClr>
                  <a:schemeClr val="tx2"/>
                </a:buClr>
              </a:pPr>
              <a:r>
                <a:rPr lang="de-DE" sz="1050" b="1">
                  <a:solidFill>
                    <a:schemeClr val="tx2"/>
                  </a:solidFill>
                </a:rPr>
                <a:t>Callout title</a:t>
              </a:r>
            </a:p>
            <a:p>
              <a:pPr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105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de-DE" sz="105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3988594" y="3033713"/>
            <a:ext cx="1371601" cy="6858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de-DE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sz="1200" b="1">
                  <a:solidFill>
                    <a:schemeClr val="tx2"/>
                  </a:solidFill>
                </a:rPr>
                <a:t>Text</a:t>
              </a:r>
              <a:endParaRPr lang="de-DE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de-DE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sz="1200" b="1">
                  <a:solidFill>
                    <a:schemeClr val="tx2"/>
                  </a:solidFill>
                </a:rPr>
                <a:t>Text</a:t>
              </a:r>
              <a:endParaRPr lang="de-DE" sz="1200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225"/>
                </a:spcBef>
                <a:spcAft>
                  <a:spcPts val="225"/>
                </a:spcAft>
              </a:pPr>
              <a:endParaRPr lang="de-DE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sz="1200" b="1">
                  <a:solidFill>
                    <a:schemeClr val="tx2"/>
                  </a:solidFill>
                </a:rPr>
                <a:t>Text</a:t>
              </a:r>
              <a:endParaRPr lang="de-DE" sz="12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9079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9" r:id="rId19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ru-RU" sz="1875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37160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274320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11480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3716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B86FDFF-B1D5-46D2-8C65-B60412ED4D95}"/>
              </a:ext>
            </a:extLst>
          </p:cNvPr>
          <p:cNvGrpSpPr/>
          <p:nvPr/>
        </p:nvGrpSpPr>
        <p:grpSpPr>
          <a:xfrm>
            <a:off x="-998220" y="-1997089"/>
            <a:ext cx="10148603" cy="7183456"/>
            <a:chOff x="-998220" y="-1997089"/>
            <a:chExt cx="10148603" cy="7183456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1"/>
              <a:ext cx="9144000" cy="5143500"/>
            </a:xfrm>
            <a:prstGeom prst="rect">
              <a:avLst/>
            </a:prstGeom>
          </p:spPr>
        </p:pic>
        <p:sp>
          <p:nvSpPr>
            <p:cNvPr id="14" name="Google Shape;14;p5"/>
            <p:cNvSpPr/>
            <p:nvPr/>
          </p:nvSpPr>
          <p:spPr>
            <a:xfrm>
              <a:off x="4490483" y="6"/>
              <a:ext cx="4659900" cy="5143499"/>
            </a:xfrm>
            <a:prstGeom prst="rect">
              <a:avLst/>
            </a:prstGeom>
            <a:solidFill>
              <a:schemeClr val="tx2">
                <a:alpha val="61000"/>
              </a:schemeClr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/>
              <a:endParaRPr dirty="0">
                <a:ea typeface="+mn-ea"/>
              </a:endParaRPr>
            </a:p>
          </p:txBody>
        </p:sp>
        <p:sp>
          <p:nvSpPr>
            <p:cNvPr id="15" name="Google Shape;15;p5"/>
            <p:cNvSpPr/>
            <p:nvPr/>
          </p:nvSpPr>
          <p:spPr>
            <a:xfrm>
              <a:off x="4574808" y="1373680"/>
              <a:ext cx="4503045" cy="14049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>
                <a:lnSpc>
                  <a:spcPct val="114000"/>
                </a:lnSpc>
                <a:spcBef>
                  <a:spcPct val="0"/>
                </a:spcBef>
              </a:pPr>
              <a:r>
                <a:rPr 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Отчет о деятельности </a:t>
              </a:r>
              <a:endParaRPr lang="en-US" sz="2000" dirty="0">
                <a:solidFill>
                  <a:prstClr val="white"/>
                </a:solidFill>
                <a:latin typeface="Ubuntu"/>
                <a:ea typeface="Ubuntu"/>
                <a:cs typeface="Ubuntu"/>
              </a:endParaRPr>
            </a:p>
            <a:p>
              <a:pPr>
                <a:lnSpc>
                  <a:spcPct val="114000"/>
                </a:lnSpc>
                <a:spcBef>
                  <a:spcPct val="0"/>
                </a:spcBef>
              </a:pPr>
              <a:r>
                <a:rPr lang="ru-RU" alt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ТОО «</a:t>
              </a:r>
              <a:r>
                <a:rPr 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Газопровод Бейнеу-Шымкент</a:t>
              </a:r>
              <a:r>
                <a:rPr lang="ru-RU" alt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» </a:t>
              </a:r>
            </a:p>
            <a:p>
              <a:pPr>
                <a:lnSpc>
                  <a:spcPct val="114000"/>
                </a:lnSpc>
                <a:spcBef>
                  <a:spcPct val="0"/>
                </a:spcBef>
              </a:pPr>
              <a:r>
                <a:rPr 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по транспортировке товарного газа </a:t>
              </a:r>
              <a:endParaRPr lang="en-US" sz="2000" dirty="0">
                <a:solidFill>
                  <a:prstClr val="white"/>
                </a:solidFill>
                <a:latin typeface="Ubuntu"/>
                <a:ea typeface="Ubuntu"/>
                <a:cs typeface="Ubuntu"/>
              </a:endParaRPr>
            </a:p>
            <a:p>
              <a:pPr>
                <a:lnSpc>
                  <a:spcPct val="114000"/>
                </a:lnSpc>
                <a:spcBef>
                  <a:spcPct val="0"/>
                </a:spcBef>
              </a:pPr>
              <a:r>
                <a:rPr 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по магистральному газопроводу за </a:t>
              </a:r>
            </a:p>
            <a:p>
              <a:pPr>
                <a:lnSpc>
                  <a:spcPct val="114000"/>
                </a:lnSpc>
                <a:spcBef>
                  <a:spcPct val="0"/>
                </a:spcBef>
              </a:pPr>
              <a:r>
                <a:rPr 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20</a:t>
              </a:r>
              <a:r>
                <a:rPr lang="en-US" sz="2000" dirty="0" smtClean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2</a:t>
              </a:r>
              <a:r>
                <a:rPr lang="en-US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4</a:t>
              </a:r>
              <a:r>
                <a:rPr lang="en-US" sz="2000" dirty="0" smtClean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 </a:t>
              </a:r>
              <a:r>
                <a:rPr lang="ru-RU" sz="2000" dirty="0">
                  <a:solidFill>
                    <a:prstClr val="white"/>
                  </a:solidFill>
                  <a:latin typeface="Ubuntu"/>
                  <a:ea typeface="Ubuntu"/>
                  <a:cs typeface="Ubuntu"/>
                </a:rPr>
                <a:t>год</a:t>
              </a:r>
              <a:endParaRPr lang="en-US" altLang="ru-RU" sz="2000" dirty="0">
                <a:solidFill>
                  <a:prstClr val="white"/>
                </a:solidFill>
                <a:latin typeface="Ubuntu"/>
                <a:ea typeface="Ubuntu"/>
                <a:cs typeface="Ubuntu"/>
              </a:endParaRPr>
            </a:p>
          </p:txBody>
        </p:sp>
        <p:sp>
          <p:nvSpPr>
            <p:cNvPr id="16" name="Google Shape;16;p5"/>
            <p:cNvSpPr/>
            <p:nvPr/>
          </p:nvSpPr>
          <p:spPr>
            <a:xfrm>
              <a:off x="4572000" y="2970231"/>
              <a:ext cx="4298240" cy="27242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defTabSz="914378">
                <a:buClr>
                  <a:prstClr val="white"/>
                </a:buClr>
                <a:buSzPts val="1100"/>
              </a:pPr>
              <a:r>
                <a:rPr lang="ru" sz="1600" b="1" dirty="0">
                  <a:solidFill>
                    <a:srgbClr val="44546A"/>
                  </a:solidFill>
                  <a:latin typeface="Ubuntu"/>
                  <a:ea typeface="Ubuntu"/>
                  <a:cs typeface="Ubuntu"/>
                  <a:sym typeface="Ubuntu"/>
                </a:rPr>
                <a:t>ТОО «ГАЗОПРОВОД-БЕЙНЕУ-ШЫМКЕНТ</a:t>
              </a:r>
              <a:endParaRPr sz="800" b="1" dirty="0">
                <a:solidFill>
                  <a:srgbClr val="44546A"/>
                </a:solidFill>
                <a:ea typeface="+mn-ea"/>
              </a:endParaRPr>
            </a:p>
          </p:txBody>
        </p:sp>
        <p:sp>
          <p:nvSpPr>
            <p:cNvPr id="21" name="Google Shape;21;p5"/>
            <p:cNvSpPr/>
            <p:nvPr/>
          </p:nvSpPr>
          <p:spPr>
            <a:xfrm>
              <a:off x="4683173" y="4737766"/>
              <a:ext cx="1870881" cy="1724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defTabSz="914378">
                <a:buClr>
                  <a:prstClr val="white"/>
                </a:buClr>
                <a:buSzPts val="1100"/>
              </a:pPr>
              <a:r>
                <a:rPr lang="ru" sz="1100" dirty="0" smtClean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А</a:t>
              </a:r>
              <a:r>
                <a:rPr lang="ru" sz="1100" dirty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ЛМАТЫ</a:t>
              </a:r>
              <a:r>
                <a:rPr lang="ru" sz="1100" dirty="0" smtClean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, апрель </a:t>
              </a:r>
              <a:r>
                <a:rPr lang="ru" sz="1100" dirty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- </a:t>
              </a:r>
              <a:r>
                <a:rPr lang="ru" sz="1100" dirty="0" smtClean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202</a:t>
              </a:r>
              <a:r>
                <a:rPr lang="en-US" sz="1100" dirty="0" smtClean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5 </a:t>
              </a:r>
              <a:r>
                <a:rPr lang="ru-RU" sz="1100" dirty="0">
                  <a:solidFill>
                    <a:prstClr val="white"/>
                  </a:solidFill>
                  <a:latin typeface="Ubuntu"/>
                  <a:ea typeface="Ubuntu"/>
                  <a:cs typeface="Ubuntu"/>
                  <a:sym typeface="Ubuntu"/>
                </a:rPr>
                <a:t>год</a:t>
              </a:r>
              <a:endParaRPr sz="1100" dirty="0">
                <a:solidFill>
                  <a:prstClr val="white"/>
                </a:solidFill>
                <a:latin typeface="Ubuntu"/>
                <a:ea typeface="Ubuntu"/>
                <a:cs typeface="Ubuntu"/>
                <a:sym typeface="Ubuntu"/>
              </a:endParaRPr>
            </a:p>
          </p:txBody>
        </p:sp>
        <p:sp>
          <p:nvSpPr>
            <p:cNvPr id="23" name="Google Shape;20;p5"/>
            <p:cNvSpPr/>
            <p:nvPr/>
          </p:nvSpPr>
          <p:spPr>
            <a:xfrm>
              <a:off x="4486275" y="5000675"/>
              <a:ext cx="4657727" cy="142831"/>
            </a:xfrm>
            <a:prstGeom prst="rect">
              <a:avLst/>
            </a:prstGeom>
            <a:solidFill>
              <a:srgbClr val="1AA4BE"/>
            </a:solidFill>
            <a:ln>
              <a:noFill/>
            </a:ln>
            <a:effectLst>
              <a:glow rad="101600">
                <a:schemeClr val="accent5">
                  <a:satMod val="175000"/>
                  <a:alpha val="40000"/>
                </a:schemeClr>
              </a:glow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spcFirstLastPara="1" wrap="square" lIns="19051" tIns="19051" rIns="19051" bIns="19051" anchor="ctr" anchorCtr="0">
              <a:noAutofit/>
            </a:bodyPr>
            <a:lstStyle/>
            <a:p>
              <a:pPr algn="ctr" defTabSz="914378">
                <a:buClr>
                  <a:srgbClr val="323C40"/>
                </a:buClr>
                <a:buSzPts val="2100"/>
              </a:pPr>
              <a:endParaRPr sz="2100" dirty="0">
                <a:latin typeface="Ubuntu"/>
                <a:ea typeface="Ubuntu"/>
                <a:cs typeface="Ubuntu"/>
                <a:sym typeface="Ubuntu"/>
              </a:endParaRPr>
            </a:p>
          </p:txBody>
        </p:sp>
        <p:sp>
          <p:nvSpPr>
            <p:cNvPr id="24" name="Google Shape;14;p5"/>
            <p:cNvSpPr/>
            <p:nvPr/>
          </p:nvSpPr>
          <p:spPr>
            <a:xfrm>
              <a:off x="1" y="-9520"/>
              <a:ext cx="4490688" cy="5195887"/>
            </a:xfrm>
            <a:prstGeom prst="rect">
              <a:avLst/>
            </a:prstGeom>
            <a:solidFill>
              <a:schemeClr val="bg1">
                <a:lumMod val="75000"/>
                <a:alpha val="25000"/>
              </a:schemeClr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/>
              <a:endParaRPr dirty="0">
                <a:ea typeface="+mn-ea"/>
              </a:endParaRPr>
            </a:p>
          </p:txBody>
        </p:sp>
        <p:sp>
          <p:nvSpPr>
            <p:cNvPr id="20" name="Google Shape;20;p5"/>
            <p:cNvSpPr/>
            <p:nvPr/>
          </p:nvSpPr>
          <p:spPr>
            <a:xfrm>
              <a:off x="1" y="4995865"/>
              <a:ext cx="4486275" cy="152356"/>
            </a:xfrm>
            <a:prstGeom prst="rect">
              <a:avLst/>
            </a:prstGeom>
            <a:solidFill>
              <a:srgbClr val="1B76A9"/>
            </a:solidFill>
            <a:ln>
              <a:noFill/>
            </a:ln>
            <a:effectLst>
              <a:glow rad="63500">
                <a:schemeClr val="accent5">
                  <a:satMod val="175000"/>
                  <a:alpha val="40000"/>
                </a:schemeClr>
              </a:glow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spcFirstLastPara="1" wrap="square" lIns="19051" tIns="19051" rIns="19051" bIns="19051" anchor="ctr" anchorCtr="0">
              <a:noAutofit/>
            </a:bodyPr>
            <a:lstStyle/>
            <a:p>
              <a:pPr algn="ctr" defTabSz="914378">
                <a:buClr>
                  <a:srgbClr val="323C40"/>
                </a:buClr>
                <a:buSzPts val="2100"/>
              </a:pPr>
              <a:endParaRPr sz="2100" dirty="0">
                <a:latin typeface="Ubuntu"/>
                <a:ea typeface="Ubuntu"/>
                <a:cs typeface="Ubuntu"/>
                <a:sym typeface="Ubuntu"/>
              </a:endParaRPr>
            </a:p>
          </p:txBody>
        </p:sp>
        <p:sp>
          <p:nvSpPr>
            <p:cNvPr id="25" name="Freeform: Shape 6">
              <a:extLst>
                <a:ext uri="{FF2B5EF4-FFF2-40B4-BE49-F238E27FC236}">
                  <a16:creationId xmlns:a16="http://schemas.microsoft.com/office/drawing/2014/main" id="{49F12BA9-672F-E04B-9161-9507DA0A282E}"/>
                </a:ext>
              </a:extLst>
            </p:cNvPr>
            <p:cNvSpPr/>
            <p:nvPr/>
          </p:nvSpPr>
          <p:spPr>
            <a:xfrm rot="10800000" flipH="1">
              <a:off x="4700484" y="1427918"/>
              <a:ext cx="3897695" cy="3529891"/>
            </a:xfrm>
            <a:custGeom>
              <a:avLst/>
              <a:gdLst>
                <a:gd name="connsiteX0" fmla="*/ 0 w 1575441"/>
                <a:gd name="connsiteY0" fmla="*/ 1524265 h 1524265"/>
                <a:gd name="connsiteX1" fmla="*/ 1575441 w 1575441"/>
                <a:gd name="connsiteY1" fmla="*/ 0 h 1524265"/>
                <a:gd name="connsiteX2" fmla="*/ 919112 w 1575441"/>
                <a:gd name="connsiteY2" fmla="*/ 0 h 1524265"/>
                <a:gd name="connsiteX3" fmla="*/ 0 w 1575441"/>
                <a:gd name="connsiteY3" fmla="*/ 889256 h 15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5441" h="1524265">
                  <a:moveTo>
                    <a:pt x="0" y="1524265"/>
                  </a:moveTo>
                  <a:lnTo>
                    <a:pt x="1575441" y="0"/>
                  </a:lnTo>
                  <a:lnTo>
                    <a:pt x="919112" y="0"/>
                  </a:lnTo>
                  <a:lnTo>
                    <a:pt x="0" y="889256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4000">
                  <a:srgbClr val="FDFDFD">
                    <a:alpha val="2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83">
                <a:buClrTx/>
              </a:pPr>
              <a:endParaRPr lang="en-US" sz="1351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9" name="Freeform: Shape 6">
              <a:extLst>
                <a:ext uri="{FF2B5EF4-FFF2-40B4-BE49-F238E27FC236}">
                  <a16:creationId xmlns:a16="http://schemas.microsoft.com/office/drawing/2014/main" id="{49F12BA9-672F-E04B-9161-9507DA0A282E}"/>
                </a:ext>
              </a:extLst>
            </p:cNvPr>
            <p:cNvSpPr/>
            <p:nvPr/>
          </p:nvSpPr>
          <p:spPr>
            <a:xfrm rot="10800000" flipH="1">
              <a:off x="5246306" y="417057"/>
              <a:ext cx="3897695" cy="3529891"/>
            </a:xfrm>
            <a:custGeom>
              <a:avLst/>
              <a:gdLst>
                <a:gd name="connsiteX0" fmla="*/ 0 w 1575441"/>
                <a:gd name="connsiteY0" fmla="*/ 1524265 h 1524265"/>
                <a:gd name="connsiteX1" fmla="*/ 1575441 w 1575441"/>
                <a:gd name="connsiteY1" fmla="*/ 0 h 1524265"/>
                <a:gd name="connsiteX2" fmla="*/ 919112 w 1575441"/>
                <a:gd name="connsiteY2" fmla="*/ 0 h 1524265"/>
                <a:gd name="connsiteX3" fmla="*/ 0 w 1575441"/>
                <a:gd name="connsiteY3" fmla="*/ 889256 h 15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5441" h="1524265">
                  <a:moveTo>
                    <a:pt x="0" y="1524265"/>
                  </a:moveTo>
                  <a:lnTo>
                    <a:pt x="1575441" y="0"/>
                  </a:lnTo>
                  <a:lnTo>
                    <a:pt x="919112" y="0"/>
                  </a:lnTo>
                  <a:lnTo>
                    <a:pt x="0" y="889256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4000">
                  <a:srgbClr val="FDFDFD">
                    <a:alpha val="2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83">
                <a:buClrTx/>
              </a:pPr>
              <a:endParaRPr lang="en-US" sz="1351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0" name="Freeform: Shape 6">
              <a:extLst>
                <a:ext uri="{FF2B5EF4-FFF2-40B4-BE49-F238E27FC236}">
                  <a16:creationId xmlns:a16="http://schemas.microsoft.com/office/drawing/2014/main" id="{49F12BA9-672F-E04B-9161-9507DA0A282E}"/>
                </a:ext>
              </a:extLst>
            </p:cNvPr>
            <p:cNvSpPr/>
            <p:nvPr/>
          </p:nvSpPr>
          <p:spPr>
            <a:xfrm rot="10800000" flipH="1">
              <a:off x="5246306" y="-1251723"/>
              <a:ext cx="3897694" cy="3529890"/>
            </a:xfrm>
            <a:custGeom>
              <a:avLst/>
              <a:gdLst>
                <a:gd name="connsiteX0" fmla="*/ 0 w 1575441"/>
                <a:gd name="connsiteY0" fmla="*/ 1524265 h 1524265"/>
                <a:gd name="connsiteX1" fmla="*/ 1575441 w 1575441"/>
                <a:gd name="connsiteY1" fmla="*/ 0 h 1524265"/>
                <a:gd name="connsiteX2" fmla="*/ 919112 w 1575441"/>
                <a:gd name="connsiteY2" fmla="*/ 0 h 1524265"/>
                <a:gd name="connsiteX3" fmla="*/ 0 w 1575441"/>
                <a:gd name="connsiteY3" fmla="*/ 889256 h 15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5441" h="1524265">
                  <a:moveTo>
                    <a:pt x="0" y="1524265"/>
                  </a:moveTo>
                  <a:lnTo>
                    <a:pt x="1575441" y="0"/>
                  </a:lnTo>
                  <a:lnTo>
                    <a:pt x="919112" y="0"/>
                  </a:lnTo>
                  <a:lnTo>
                    <a:pt x="0" y="889256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4000">
                  <a:srgbClr val="FDFDFD">
                    <a:alpha val="2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83">
                <a:buClrTx/>
              </a:pPr>
              <a:endParaRPr lang="en-US" sz="1351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6">
              <a:extLst>
                <a:ext uri="{FF2B5EF4-FFF2-40B4-BE49-F238E27FC236}">
                  <a16:creationId xmlns:a16="http://schemas.microsoft.com/office/drawing/2014/main" id="{49F12BA9-672F-E04B-9161-9507DA0A282E}"/>
                </a:ext>
              </a:extLst>
            </p:cNvPr>
            <p:cNvSpPr/>
            <p:nvPr/>
          </p:nvSpPr>
          <p:spPr>
            <a:xfrm rot="10800000" flipH="1">
              <a:off x="-998220" y="579119"/>
              <a:ext cx="5497895" cy="4410815"/>
            </a:xfrm>
            <a:custGeom>
              <a:avLst/>
              <a:gdLst>
                <a:gd name="connsiteX0" fmla="*/ 0 w 1575441"/>
                <a:gd name="connsiteY0" fmla="*/ 1524265 h 1524265"/>
                <a:gd name="connsiteX1" fmla="*/ 1575441 w 1575441"/>
                <a:gd name="connsiteY1" fmla="*/ 0 h 1524265"/>
                <a:gd name="connsiteX2" fmla="*/ 919112 w 1575441"/>
                <a:gd name="connsiteY2" fmla="*/ 0 h 1524265"/>
                <a:gd name="connsiteX3" fmla="*/ 0 w 1575441"/>
                <a:gd name="connsiteY3" fmla="*/ 889256 h 15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5441" h="1524265">
                  <a:moveTo>
                    <a:pt x="0" y="1524265"/>
                  </a:moveTo>
                  <a:lnTo>
                    <a:pt x="1575441" y="0"/>
                  </a:lnTo>
                  <a:lnTo>
                    <a:pt x="919112" y="0"/>
                  </a:lnTo>
                  <a:lnTo>
                    <a:pt x="0" y="889256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4000">
                  <a:srgbClr val="FDFDFD">
                    <a:alpha val="2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83">
                <a:buClrTx/>
              </a:pPr>
              <a:endParaRPr lang="en-US" sz="1351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Shape 209"/>
            <p:cNvSpPr/>
            <p:nvPr/>
          </p:nvSpPr>
          <p:spPr>
            <a:xfrm>
              <a:off x="0" y="4122421"/>
              <a:ext cx="1249680" cy="917096"/>
            </a:xfrm>
            <a:prstGeom prst="rtTriangle">
              <a:avLst/>
            </a:prstGeom>
            <a:solidFill>
              <a:srgbClr val="343C66">
                <a:alpha val="2100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/>
              <a:endParaRPr dirty="0">
                <a:ea typeface="+mn-ea"/>
              </a:endParaRPr>
            </a:p>
          </p:txBody>
        </p:sp>
        <p:sp>
          <p:nvSpPr>
            <p:cNvPr id="26" name="Freeform: Shape 6">
              <a:extLst>
                <a:ext uri="{FF2B5EF4-FFF2-40B4-BE49-F238E27FC236}">
                  <a16:creationId xmlns:a16="http://schemas.microsoft.com/office/drawing/2014/main" id="{49F12BA9-672F-E04B-9161-9507DA0A282E}"/>
                </a:ext>
              </a:extLst>
            </p:cNvPr>
            <p:cNvSpPr/>
            <p:nvPr/>
          </p:nvSpPr>
          <p:spPr>
            <a:xfrm rot="10800000" flipH="1">
              <a:off x="-972280" y="-1997089"/>
              <a:ext cx="5497895" cy="4410815"/>
            </a:xfrm>
            <a:custGeom>
              <a:avLst/>
              <a:gdLst>
                <a:gd name="connsiteX0" fmla="*/ 0 w 1575441"/>
                <a:gd name="connsiteY0" fmla="*/ 1524265 h 1524265"/>
                <a:gd name="connsiteX1" fmla="*/ 1575441 w 1575441"/>
                <a:gd name="connsiteY1" fmla="*/ 0 h 1524265"/>
                <a:gd name="connsiteX2" fmla="*/ 919112 w 1575441"/>
                <a:gd name="connsiteY2" fmla="*/ 0 h 1524265"/>
                <a:gd name="connsiteX3" fmla="*/ 0 w 1575441"/>
                <a:gd name="connsiteY3" fmla="*/ 889256 h 152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75441" h="1524265">
                  <a:moveTo>
                    <a:pt x="0" y="1524265"/>
                  </a:moveTo>
                  <a:lnTo>
                    <a:pt x="1575441" y="0"/>
                  </a:lnTo>
                  <a:lnTo>
                    <a:pt x="919112" y="0"/>
                  </a:lnTo>
                  <a:lnTo>
                    <a:pt x="0" y="889256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24000">
                  <a:srgbClr val="FDFDFD">
                    <a:alpha val="2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defTabSz="685783">
                <a:buClrTx/>
              </a:pPr>
              <a:endParaRPr lang="en-US" sz="1351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26" name="Picture 2" descr="Beineu Shymkent — Beineu Shymkent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240" y="26507"/>
              <a:ext cx="1059010" cy="503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58496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6060868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ПОСТАТЕЙНОЕ ИСПОЛНЕНИЕ ТАРИФНОЙ СМЕТЫ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 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6106585" y="93386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6109631" y="92606"/>
            <a:ext cx="42643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sym typeface="Ubuntu"/>
              </a:rPr>
              <a:t>10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397783"/>
              </p:ext>
            </p:extLst>
          </p:nvPr>
        </p:nvGraphicFramePr>
        <p:xfrm>
          <a:off x="96233" y="581249"/>
          <a:ext cx="8939394" cy="4389893"/>
        </p:xfrm>
        <a:graphic>
          <a:graphicData uri="http://schemas.openxmlformats.org/drawingml/2006/table">
            <a:tbl>
              <a:tblPr/>
              <a:tblGrid>
                <a:gridCol w="701683">
                  <a:extLst>
                    <a:ext uri="{9D8B030D-6E8A-4147-A177-3AD203B41FA5}">
                      <a16:colId xmlns:a16="http://schemas.microsoft.com/office/drawing/2014/main" val="4292952266"/>
                    </a:ext>
                  </a:extLst>
                </a:gridCol>
                <a:gridCol w="3439517">
                  <a:extLst>
                    <a:ext uri="{9D8B030D-6E8A-4147-A177-3AD203B41FA5}">
                      <a16:colId xmlns:a16="http://schemas.microsoft.com/office/drawing/2014/main" val="2301729644"/>
                    </a:ext>
                  </a:extLst>
                </a:gridCol>
                <a:gridCol w="1710488">
                  <a:extLst>
                    <a:ext uri="{9D8B030D-6E8A-4147-A177-3AD203B41FA5}">
                      <a16:colId xmlns:a16="http://schemas.microsoft.com/office/drawing/2014/main" val="2343512945"/>
                    </a:ext>
                  </a:extLst>
                </a:gridCol>
                <a:gridCol w="1615460">
                  <a:extLst>
                    <a:ext uri="{9D8B030D-6E8A-4147-A177-3AD203B41FA5}">
                      <a16:colId xmlns:a16="http://schemas.microsoft.com/office/drawing/2014/main" val="3997583790"/>
                    </a:ext>
                  </a:extLst>
                </a:gridCol>
                <a:gridCol w="1472246">
                  <a:extLst>
                    <a:ext uri="{9D8B030D-6E8A-4147-A177-3AD203B41FA5}">
                      <a16:colId xmlns:a16="http://schemas.microsoft.com/office/drawing/2014/main" val="2469079416"/>
                    </a:ext>
                  </a:extLst>
                </a:gridCol>
              </a:tblGrid>
              <a:tr h="268381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ЕБЕСТОИМОСТЬ</a:t>
                      </a: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Утверждено </a:t>
                      </a:r>
                      <a:b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 202</a:t>
                      </a: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год  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Факт 202</a:t>
                      </a:r>
                      <a:r>
                        <a:rPr lang="en-US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год 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сполнение,</a:t>
                      </a:r>
                      <a:br>
                        <a:rPr lang="ru-RU" sz="800" b="1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b="1" i="0" u="none" strike="noStrike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98893"/>
                  </a:ext>
                </a:extLst>
              </a:tr>
              <a:tr h="392426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 "/>
                        </a:rPr>
                        <a:t>1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 "/>
                        </a:rPr>
                        <a:t>Затраты на производство товаров и предоставление услуг, всего, в </a:t>
                      </a:r>
                      <a:r>
                        <a:rPr lang="ru-RU" sz="8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 "/>
                        </a:rPr>
                        <a:t>т.ч</a:t>
                      </a:r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 "/>
                        </a:rPr>
                        <a:t>.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49 </a:t>
                      </a:r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8 0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53 468 7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 "/>
                        </a:rPr>
                        <a:t>108%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Calibri "/>
                      </a:endParaRPr>
                    </a:p>
                  </a:txBody>
                  <a:tcPr marL="9525" marR="72000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6599747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Материальные затраты, всего, в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т.ч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6 760 3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6 443 69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9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672681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Сырье и материал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51 7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51 79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6047246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Горюче-смазочные материал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4 6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9 1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9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773757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Газ на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СНиТП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6 703 89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6 382 72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9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3181482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на оплату труда, всего, в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т.ч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143 9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220 13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5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4907469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Заработная плата производственного персонал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130 1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197 76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5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6817682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Социа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10 0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17 61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7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5688948"/>
                  </a:ext>
                </a:extLst>
              </a:tr>
              <a:tr h="264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Отчисления на обязательное социальное медицинское страх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3 7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4 7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7697100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Амортиз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27 577 4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29 413 26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8214724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Прочие затрат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15 250 10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17 391 6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2725663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Налоги и платеж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1 8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229 0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26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0276083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Техническое и сервисное обслужи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11 838 53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13 023 4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549716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 по охране окружающей сре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183 23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183 23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986938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на охрану объект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957 3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1 113 65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1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6246504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Страх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1 014 5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1 017 3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1637202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связ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147 8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222 1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3550755"/>
                  </a:ext>
                </a:extLst>
              </a:tr>
              <a:tr h="2649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Ежемесячное обслуживание компьютерного, серверного оборудова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174 7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334 2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9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58635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Аренда прочих зданий и сооружени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4 1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4 1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7485565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Командировочные рас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3 5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8 03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7623295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сторонних организаци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826 75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1 076 4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5673889"/>
                  </a:ext>
                </a:extLst>
              </a:tr>
              <a:tr h="154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Затраты на авто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56 25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56 25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547934"/>
                  </a:ext>
                </a:extLst>
              </a:tr>
              <a:tr h="264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.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по предоставлению вспомогательного персонала (Рекрутинг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41 2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123 73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3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057925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8260938" y="399605"/>
            <a:ext cx="8386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i="1" kern="1200" dirty="0" smtClean="0">
                <a:latin typeface="+mn-lt"/>
                <a:cs typeface="Arial" panose="020B0604020202020204" pitchFamily="34" charset="0"/>
              </a:rPr>
              <a:t>      </a:t>
            </a:r>
            <a:r>
              <a:rPr lang="ru-RU" sz="800" i="1" kern="1200" dirty="0" err="1" smtClean="0">
                <a:latin typeface="+mn-lt"/>
                <a:cs typeface="Arial" panose="020B0604020202020204" pitchFamily="34" charset="0"/>
              </a:rPr>
              <a:t>тыс.тенге</a:t>
            </a:r>
            <a:endParaRPr lang="ru-RU" sz="800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0340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6060868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ПОСТАТЕЙНОЕ ИСПОЛНЕНИЕ ТАРИФНОЙ СМЕТЫ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 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6106585" y="102452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6106291" y="107243"/>
            <a:ext cx="3958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1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1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8354030" y="418146"/>
            <a:ext cx="727020" cy="214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i="1" kern="1200" dirty="0" err="1" smtClean="0">
                <a:latin typeface="+mn-lt"/>
                <a:cs typeface="Arial" panose="020B0604020202020204" pitchFamily="34" charset="0"/>
              </a:rPr>
              <a:t>тыс.тенге</a:t>
            </a:r>
            <a:endParaRPr lang="ru-RU" sz="800" i="1" dirty="0">
              <a:latin typeface="+mn-lt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130200"/>
              </p:ext>
            </p:extLst>
          </p:nvPr>
        </p:nvGraphicFramePr>
        <p:xfrm>
          <a:off x="155573" y="581027"/>
          <a:ext cx="8880053" cy="4361494"/>
        </p:xfrm>
        <a:graphic>
          <a:graphicData uri="http://schemas.openxmlformats.org/drawingml/2006/table">
            <a:tbl>
              <a:tblPr/>
              <a:tblGrid>
                <a:gridCol w="559467">
                  <a:extLst>
                    <a:ext uri="{9D8B030D-6E8A-4147-A177-3AD203B41FA5}">
                      <a16:colId xmlns:a16="http://schemas.microsoft.com/office/drawing/2014/main" val="2204546563"/>
                    </a:ext>
                  </a:extLst>
                </a:gridCol>
                <a:gridCol w="4422572">
                  <a:extLst>
                    <a:ext uri="{9D8B030D-6E8A-4147-A177-3AD203B41FA5}">
                      <a16:colId xmlns:a16="http://schemas.microsoft.com/office/drawing/2014/main" val="1786647516"/>
                    </a:ext>
                  </a:extLst>
                </a:gridCol>
                <a:gridCol w="1673815">
                  <a:extLst>
                    <a:ext uri="{9D8B030D-6E8A-4147-A177-3AD203B41FA5}">
                      <a16:colId xmlns:a16="http://schemas.microsoft.com/office/drawing/2014/main" val="1851437549"/>
                    </a:ext>
                  </a:extLst>
                </a:gridCol>
                <a:gridCol w="1209930">
                  <a:extLst>
                    <a:ext uri="{9D8B030D-6E8A-4147-A177-3AD203B41FA5}">
                      <a16:colId xmlns:a16="http://schemas.microsoft.com/office/drawing/2014/main" val="1079015459"/>
                    </a:ext>
                  </a:extLst>
                </a:gridCol>
                <a:gridCol w="1014269">
                  <a:extLst>
                    <a:ext uri="{9D8B030D-6E8A-4147-A177-3AD203B41FA5}">
                      <a16:colId xmlns:a16="http://schemas.microsoft.com/office/drawing/2014/main" val="1311734781"/>
                    </a:ext>
                  </a:extLst>
                </a:gridCol>
              </a:tblGrid>
              <a:tr h="266605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СХОДЫ ПЕРИОДА</a:t>
                      </a: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8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тверждено 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</a:t>
                      </a:r>
                      <a:r>
                        <a:rPr lang="ru-RU" sz="8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д  </a:t>
                      </a: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Факт </a:t>
                      </a:r>
                      <a:r>
                        <a:rPr lang="ru-RU" sz="8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д </a:t>
                      </a: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полнение,</a:t>
                      </a:r>
                      <a:b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6298" marR="6298" marT="6298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310171"/>
                  </a:ext>
                </a:extLst>
              </a:tr>
              <a:tr h="160144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сходы периода всего, в </a:t>
                      </a:r>
                      <a:r>
                        <a:rPr lang="ru-RU" sz="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т.ч</a:t>
                      </a:r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</a:t>
                      </a:r>
                      <a:r>
                        <a:rPr lang="ru-RU" sz="9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</a:t>
                      </a:r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807 2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9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15 611 0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2%</a:t>
                      </a: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563790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Общие и административные расходы, всего: в том числе: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2 257 8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5 061 6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6893679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Заработная плата административного персонал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750 84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1 338 01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7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9099705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Социа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93 9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189 8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0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3520398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Отчисления на обязательное социальное медицинское страх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19 14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30 1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5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4081343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Налоги и платеж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4 23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1 675 50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3955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2643149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Прочие расход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1 389 65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1 828 13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7089061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Горюче-смазочные материал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13 9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20 9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6894150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Амортиз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701 0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747 0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95326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по охране труда, техники безопас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4 36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367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263699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Страхование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2 9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5 3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8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5543149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связ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5 49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7 88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453502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Ежемесячное обслуживание компьютерного, серверного оборудова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14 5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24 34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6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4624602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Продление лицензии антивирусного П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1 91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8 34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4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113797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по поддержке 1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4 91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5 80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4062180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Аренда офисных помещений и парковочных мест, в том числе содерж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332 29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451 03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3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4929097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на банковское обслуживание и почтовые перев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4 9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7 05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4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10407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Нотариальные услуг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1 4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1 9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612375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Подготовка кадров и повышение квалификации персонал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6 73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53 7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79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438194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на служебные командировки на территории Р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36 46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58 53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6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40279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Канцелярские и типографские рас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1 48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8 06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2638014"/>
                  </a:ext>
                </a:extLst>
              </a:tr>
              <a:tr h="160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сторонних организаци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11 5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11 04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9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9989605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Затраты на авто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17 0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32 9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9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27999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Услуги по предоставлению вспомогательного персонала (Рекрутинг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225 96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374 70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6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5310493"/>
                  </a:ext>
                </a:extLst>
              </a:tr>
              <a:tr h="1495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5.5.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ИПБ «Параграф»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          2 45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4 90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2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8881119"/>
                  </a:ext>
                </a:extLst>
              </a:tr>
              <a:tr h="1651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Расходы на вознагражд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           10 549 3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           10 549 3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 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913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462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8245476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Прямоугольник 3"/>
          <p:cNvSpPr/>
          <p:nvPr/>
        </p:nvSpPr>
        <p:spPr>
          <a:xfrm>
            <a:off x="96232" y="103913"/>
            <a:ext cx="798414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О ПРОВОДИМОЙ РАБОТЕ С ПОТРЕБИТЕЛЯМИ РЕГУЛИРУЕМЫХ УСЛУГ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 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8287810" y="99279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8287516" y="104070"/>
            <a:ext cx="3958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1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2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Объект 2"/>
          <p:cNvSpPr txBox="1">
            <a:spLocks/>
          </p:cNvSpPr>
          <p:nvPr/>
        </p:nvSpPr>
        <p:spPr>
          <a:xfrm>
            <a:off x="215901" y="706333"/>
            <a:ext cx="8648700" cy="413316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</a:rPr>
              <a:t>      </a:t>
            </a:r>
            <a:r>
              <a:rPr kumimoji="0" lang="ru-RU" sz="16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Товарищество в отчетном периоде :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ea typeface="+mn-ea"/>
                <a:cs typeface="Times New Roman" panose="02020603050405020304" pitchFamily="18" charset="0"/>
              </a:rPr>
              <a:t> </a:t>
            </a: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прове</a:t>
            </a:r>
            <a:r>
              <a:rPr kumimoji="1" lang="ru-RU" sz="1400" dirty="0" err="1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ло</a:t>
            </a:r>
            <a:r>
              <a:rPr kumimoji="1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 слушание ежегодного отчета о своей деятельности за 202</a:t>
            </a:r>
            <a:r>
              <a:rPr kumimoji="1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3</a:t>
            </a:r>
            <a:r>
              <a:rPr kumimoji="1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 год, в соответствии с пунктом 6 статьи 25 Закона РК «О естественных монополиях» и Правил осуществления деятельности субъектами естественных монополий, утвержденных Приказом Министра национальной экономики РК от 13 августа 2019 года № 73;</a:t>
            </a:r>
            <a:endParaRPr kumimoji="1" lang="en-US" sz="1400" dirty="0">
              <a:solidFill>
                <a:sysClr val="windowText" lastClr="000000"/>
              </a:solidFill>
              <a:cs typeface="Times New Roman" panose="02020603050405020304" pitchFamily="18" charset="0"/>
            </a:endParaRP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kk-KZ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осуществило своевременное направление в уполномоченные органы отчетов об исполнении тарифной сметы и инвестиционной программы за 202</a:t>
            </a:r>
            <a:r>
              <a:rPr kumimoji="1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3</a:t>
            </a:r>
            <a:r>
              <a:rPr kumimoji="1" lang="kk-KZ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 год</a:t>
            </a:r>
            <a:r>
              <a:rPr kumimoji="1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;</a:t>
            </a:r>
            <a:endParaRPr kumimoji="1" lang="en-US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anose="02020603050405020304" pitchFamily="18" charset="0"/>
            </a:endParaRP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снизило тариф на транспортировку товарного газа по магистральному газопроводу на 2024 годы в связи с увеличением объемов транспортировки газа в 2023 году;</a:t>
            </a:r>
            <a:endParaRPr kumimoji="1" lang="en-US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Times New Roman" panose="02020603050405020304" pitchFamily="18" charset="0"/>
            </a:endParaRP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обеспечило заданный уровень транспортировки газа для внутреннего рынка РК и для целей экспорта</a:t>
            </a:r>
            <a:r>
              <a:rPr kumimoji="1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;</a:t>
            </a:r>
            <a:endParaRPr kumimoji="1" lang="ru-RU" sz="1400" dirty="0">
              <a:solidFill>
                <a:sysClr val="windowText" lastClr="000000"/>
              </a:solidFill>
              <a:cs typeface="Times New Roman" panose="02020603050405020304" pitchFamily="18" charset="0"/>
            </a:endParaRPr>
          </a:p>
          <a:p>
            <a:pPr marR="0" lvl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обеспечило отсутствие несчастных случаев на объектах газопровода, аварийных ситуаций, повлекших остановку производства и нанесение экологического ущерба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1" lang="ru-RU" sz="140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овело работу по </a:t>
            </a:r>
            <a:r>
              <a:rPr kumimoji="1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снижению уровня газа для технических потерь и для собственных нужд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k-KZ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не</a:t>
            </a:r>
            <a:r>
              <a:rPr kumimoji="0" lang="kk-KZ" sz="14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 получало </a:t>
            </a:r>
            <a:r>
              <a:rPr kumimoji="0" lang="kk-KZ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жа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лоб на качество предоставленных услуг по транспортировке газа по магистральному газопроводу от потребителя.</a:t>
            </a:r>
            <a:endParaRPr kumimoji="1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1874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7153276" cy="525532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Прямоугольник 3"/>
          <p:cNvSpPr/>
          <p:nvPr/>
        </p:nvSpPr>
        <p:spPr>
          <a:xfrm>
            <a:off x="96232" y="103913"/>
            <a:ext cx="694274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</a:rPr>
              <a:t>Перспективы </a:t>
            </a:r>
            <a:r>
              <a:rPr lang="ru-RU" b="1" dirty="0">
                <a:solidFill>
                  <a:schemeClr val="bg1"/>
                </a:solidFill>
                <a:latin typeface="Ubuntu"/>
                <a:ea typeface="Ubuntu"/>
                <a:cs typeface="Ubuntu"/>
              </a:rPr>
              <a:t>деятельности (план развития), возможное изменение тарифа на услугу по транспортировке товарного газа</a:t>
            </a: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7212912" y="101601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7212618" y="106392"/>
            <a:ext cx="3958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1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3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Объект 2"/>
          <p:cNvSpPr txBox="1">
            <a:spLocks/>
          </p:cNvSpPr>
          <p:nvPr/>
        </p:nvSpPr>
        <p:spPr>
          <a:xfrm>
            <a:off x="247649" y="793021"/>
            <a:ext cx="8842163" cy="420125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  </a:t>
            </a:r>
            <a:r>
              <a:rPr lang="ru-RU" sz="1200" b="1" dirty="0">
                <a:solidFill>
                  <a:srgbClr val="002060"/>
                </a:solidFill>
                <a:cs typeface="Times New Roman" panose="02020603050405020304" pitchFamily="18" charset="0"/>
              </a:rPr>
              <a:t>Перспективы деятельности (план развития)</a:t>
            </a:r>
            <a:endParaRPr kumimoji="1" lang="ru-RU" sz="1200" dirty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pPr marL="446088" indent="-180975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обеспечение надежной и безопасной транспортировки товарного газа; </a:t>
            </a:r>
          </a:p>
          <a:p>
            <a:pPr marL="446088" indent="-180975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обеспечение заданного уровня транспортировки товарного газа;</a:t>
            </a:r>
          </a:p>
          <a:p>
            <a:pPr marL="446088" indent="-180975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обеспечение отсутствия несчастных случаев на объектах газопровода, аварийных ситуаций, повлекших остановку производства и нанесение экологического ущерба;</a:t>
            </a:r>
          </a:p>
          <a:p>
            <a:pPr marL="446088" indent="-180975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повышение эффективности эксплуатации газопровода;</a:t>
            </a:r>
          </a:p>
          <a:p>
            <a:pPr marL="446088" indent="-180975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повышение эффективности использования энергоресурсов (технологического газа, электроэнергии, воды и др.);</a:t>
            </a:r>
          </a:p>
          <a:p>
            <a:pPr marL="446088" indent="-180975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обеспечение поддержания высокой производительности труда и повышения квалификации персонала;</a:t>
            </a:r>
          </a:p>
          <a:p>
            <a:pPr marL="285750" indent="-285750" algn="just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200" dirty="0">
                <a:cs typeface="Times New Roman" panose="02020603050405020304" pitchFamily="18" charset="0"/>
              </a:rPr>
              <a:t> </a:t>
            </a:r>
            <a:r>
              <a:rPr lang="ru-RU" sz="1200" b="1" dirty="0">
                <a:solidFill>
                  <a:srgbClr val="002060"/>
                </a:solidFill>
                <a:cs typeface="Times New Roman" panose="02020603050405020304" pitchFamily="18" charset="0"/>
              </a:rPr>
              <a:t>Изменение тарифа на регулируемую услугу по транспортировке газа</a:t>
            </a:r>
            <a:endParaRPr lang="en-US" sz="1200" b="1" dirty="0">
              <a:solidFill>
                <a:srgbClr val="002060"/>
              </a:solidFill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kk-KZ" sz="1200" dirty="0" smtClean="0"/>
              <a:t>        Приказом </a:t>
            </a:r>
            <a:r>
              <a:rPr lang="ru-RU" sz="1200" dirty="0"/>
              <a:t>Департамента Комитета по регулированию естественных монополий Министерства национальной экономики </a:t>
            </a:r>
            <a:r>
              <a:rPr lang="ru-RU" sz="1200" dirty="0" smtClean="0"/>
              <a:t>   Республики </a:t>
            </a:r>
            <a:r>
              <a:rPr lang="ru-RU" sz="1200" dirty="0"/>
              <a:t>Казахстан по городу Алматы </a:t>
            </a:r>
            <a:r>
              <a:rPr lang="kk-KZ" sz="1200" dirty="0"/>
              <a:t>от 29 ноября 202</a:t>
            </a:r>
            <a:r>
              <a:rPr lang="ru-RU" sz="1200" dirty="0"/>
              <a:t>4 года №158-ОД утверждены тарифы на 2025 – 2029 годы в размере:</a:t>
            </a:r>
          </a:p>
          <a:p>
            <a:pPr marL="0" indent="0">
              <a:buNone/>
            </a:pPr>
            <a:r>
              <a:rPr lang="ru-RU" sz="1200" dirty="0"/>
              <a:t>       1) на 2025 год -702,08 тенге на 1000м3/100 км без НДС;</a:t>
            </a:r>
          </a:p>
          <a:p>
            <a:pPr marL="0" indent="0">
              <a:buNone/>
            </a:pPr>
            <a:r>
              <a:rPr lang="ru-RU" sz="1200" dirty="0"/>
              <a:t>       2) на 2026 год -620,29 тенге на 1000 м3/100 км без НДС;</a:t>
            </a:r>
          </a:p>
          <a:p>
            <a:pPr marL="0" indent="0">
              <a:buNone/>
            </a:pPr>
            <a:r>
              <a:rPr lang="ru-RU" sz="1200" dirty="0"/>
              <a:t>       3) на 2027 год -585,61 тенге на 1000 м3/100 км без НДС;</a:t>
            </a:r>
          </a:p>
          <a:p>
            <a:pPr marL="0" indent="0">
              <a:buNone/>
            </a:pPr>
            <a:r>
              <a:rPr lang="ru-RU" sz="1200" dirty="0"/>
              <a:t>       4) на 2028 год -397,17 тенге на 1000 м3/100 км без НДС;</a:t>
            </a:r>
          </a:p>
          <a:p>
            <a:pPr marL="0" indent="0">
              <a:buNone/>
            </a:pPr>
            <a:r>
              <a:rPr lang="ru-RU" sz="1200" dirty="0"/>
              <a:t>       5) на 2029 год -539,68 тенге на 1000 м3/100 км без НДС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18204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2404A5B-56B0-40B7-82E9-F50737B751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3777" y="1617377"/>
            <a:ext cx="5782715" cy="327687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F2B1D38-8836-4F93-861F-353B4DBC82E6}"/>
              </a:ext>
            </a:extLst>
          </p:cNvPr>
          <p:cNvGrpSpPr/>
          <p:nvPr/>
        </p:nvGrpSpPr>
        <p:grpSpPr>
          <a:xfrm>
            <a:off x="262533" y="1170198"/>
            <a:ext cx="7232019" cy="3804998"/>
            <a:chOff x="2108200" y="730250"/>
            <a:chExt cx="9512300" cy="6180138"/>
          </a:xfrm>
        </p:grpSpPr>
        <p:sp>
          <p:nvSpPr>
            <p:cNvPr id="17" name="Полилиния: фигура 60">
              <a:extLst>
                <a:ext uri="{FF2B5EF4-FFF2-40B4-BE49-F238E27FC236}">
                  <a16:creationId xmlns:a16="http://schemas.microsoft.com/office/drawing/2014/main" id="{AE3E81A7-17AB-434E-8E0E-54670FD3B2F2}"/>
                </a:ext>
              </a:extLst>
            </p:cNvPr>
            <p:cNvSpPr/>
            <p:nvPr/>
          </p:nvSpPr>
          <p:spPr>
            <a:xfrm>
              <a:off x="2108200" y="730250"/>
              <a:ext cx="9512300" cy="5480050"/>
            </a:xfrm>
            <a:custGeom>
              <a:avLst/>
              <a:gdLst>
                <a:gd name="connsiteX0" fmla="*/ 273050 w 9512300"/>
                <a:gd name="connsiteY0" fmla="*/ 2578100 h 5480050"/>
                <a:gd name="connsiteX1" fmla="*/ 374650 w 9512300"/>
                <a:gd name="connsiteY1" fmla="*/ 2571750 h 5480050"/>
                <a:gd name="connsiteX2" fmla="*/ 400050 w 9512300"/>
                <a:gd name="connsiteY2" fmla="*/ 2533650 h 5480050"/>
                <a:gd name="connsiteX3" fmla="*/ 406400 w 9512300"/>
                <a:gd name="connsiteY3" fmla="*/ 2368550 h 5480050"/>
                <a:gd name="connsiteX4" fmla="*/ 381000 w 9512300"/>
                <a:gd name="connsiteY4" fmla="*/ 2336800 h 5480050"/>
                <a:gd name="connsiteX5" fmla="*/ 254000 w 9512300"/>
                <a:gd name="connsiteY5" fmla="*/ 2216150 h 5480050"/>
                <a:gd name="connsiteX6" fmla="*/ 222250 w 9512300"/>
                <a:gd name="connsiteY6" fmla="*/ 2197100 h 5480050"/>
                <a:gd name="connsiteX7" fmla="*/ 127000 w 9512300"/>
                <a:gd name="connsiteY7" fmla="*/ 2190750 h 5480050"/>
                <a:gd name="connsiteX8" fmla="*/ 101600 w 9512300"/>
                <a:gd name="connsiteY8" fmla="*/ 2184400 h 5480050"/>
                <a:gd name="connsiteX9" fmla="*/ 38100 w 9512300"/>
                <a:gd name="connsiteY9" fmla="*/ 2108200 h 5480050"/>
                <a:gd name="connsiteX10" fmla="*/ 31750 w 9512300"/>
                <a:gd name="connsiteY10" fmla="*/ 1924050 h 5480050"/>
                <a:gd name="connsiteX11" fmla="*/ 6350 w 9512300"/>
                <a:gd name="connsiteY11" fmla="*/ 1873250 h 5480050"/>
                <a:gd name="connsiteX12" fmla="*/ 6350 w 9512300"/>
                <a:gd name="connsiteY12" fmla="*/ 1873250 h 5480050"/>
                <a:gd name="connsiteX13" fmla="*/ 0 w 9512300"/>
                <a:gd name="connsiteY13" fmla="*/ 1803400 h 5480050"/>
                <a:gd name="connsiteX14" fmla="*/ 139700 w 9512300"/>
                <a:gd name="connsiteY14" fmla="*/ 1676400 h 5480050"/>
                <a:gd name="connsiteX15" fmla="*/ 190500 w 9512300"/>
                <a:gd name="connsiteY15" fmla="*/ 1663700 h 5480050"/>
                <a:gd name="connsiteX16" fmla="*/ 196850 w 9512300"/>
                <a:gd name="connsiteY16" fmla="*/ 1619250 h 5480050"/>
                <a:gd name="connsiteX17" fmla="*/ 203200 w 9512300"/>
                <a:gd name="connsiteY17" fmla="*/ 1473200 h 5480050"/>
                <a:gd name="connsiteX18" fmla="*/ 209550 w 9512300"/>
                <a:gd name="connsiteY18" fmla="*/ 1460500 h 5480050"/>
                <a:gd name="connsiteX19" fmla="*/ 431800 w 9512300"/>
                <a:gd name="connsiteY19" fmla="*/ 1231900 h 5480050"/>
                <a:gd name="connsiteX20" fmla="*/ 495300 w 9512300"/>
                <a:gd name="connsiteY20" fmla="*/ 1231900 h 5480050"/>
                <a:gd name="connsiteX21" fmla="*/ 527050 w 9512300"/>
                <a:gd name="connsiteY21" fmla="*/ 1282700 h 5480050"/>
                <a:gd name="connsiteX22" fmla="*/ 527050 w 9512300"/>
                <a:gd name="connsiteY22" fmla="*/ 1416050 h 5480050"/>
                <a:gd name="connsiteX23" fmla="*/ 539750 w 9512300"/>
                <a:gd name="connsiteY23" fmla="*/ 1447800 h 5480050"/>
                <a:gd name="connsiteX24" fmla="*/ 577850 w 9512300"/>
                <a:gd name="connsiteY24" fmla="*/ 1454150 h 5480050"/>
                <a:gd name="connsiteX25" fmla="*/ 654050 w 9512300"/>
                <a:gd name="connsiteY25" fmla="*/ 1454150 h 5480050"/>
                <a:gd name="connsiteX26" fmla="*/ 685800 w 9512300"/>
                <a:gd name="connsiteY26" fmla="*/ 1447800 h 5480050"/>
                <a:gd name="connsiteX27" fmla="*/ 698500 w 9512300"/>
                <a:gd name="connsiteY27" fmla="*/ 1435100 h 5480050"/>
                <a:gd name="connsiteX28" fmla="*/ 698500 w 9512300"/>
                <a:gd name="connsiteY28" fmla="*/ 1263650 h 5480050"/>
                <a:gd name="connsiteX29" fmla="*/ 698500 w 9512300"/>
                <a:gd name="connsiteY29" fmla="*/ 1238250 h 5480050"/>
                <a:gd name="connsiteX30" fmla="*/ 908050 w 9512300"/>
                <a:gd name="connsiteY30" fmla="*/ 1028700 h 5480050"/>
                <a:gd name="connsiteX31" fmla="*/ 939800 w 9512300"/>
                <a:gd name="connsiteY31" fmla="*/ 1009650 h 5480050"/>
                <a:gd name="connsiteX32" fmla="*/ 1136650 w 9512300"/>
                <a:gd name="connsiteY32" fmla="*/ 1009650 h 5480050"/>
                <a:gd name="connsiteX33" fmla="*/ 1231900 w 9512300"/>
                <a:gd name="connsiteY33" fmla="*/ 920750 h 5480050"/>
                <a:gd name="connsiteX34" fmla="*/ 1314450 w 9512300"/>
                <a:gd name="connsiteY34" fmla="*/ 920750 h 5480050"/>
                <a:gd name="connsiteX35" fmla="*/ 1397000 w 9512300"/>
                <a:gd name="connsiteY35" fmla="*/ 1009650 h 5480050"/>
                <a:gd name="connsiteX36" fmla="*/ 1435100 w 9512300"/>
                <a:gd name="connsiteY36" fmla="*/ 1022350 h 5480050"/>
                <a:gd name="connsiteX37" fmla="*/ 1574800 w 9512300"/>
                <a:gd name="connsiteY37" fmla="*/ 1016000 h 5480050"/>
                <a:gd name="connsiteX38" fmla="*/ 1657350 w 9512300"/>
                <a:gd name="connsiteY38" fmla="*/ 1104900 h 5480050"/>
                <a:gd name="connsiteX39" fmla="*/ 1727200 w 9512300"/>
                <a:gd name="connsiteY39" fmla="*/ 1104900 h 5480050"/>
                <a:gd name="connsiteX40" fmla="*/ 2025650 w 9512300"/>
                <a:gd name="connsiteY40" fmla="*/ 1282700 h 5480050"/>
                <a:gd name="connsiteX41" fmla="*/ 2108200 w 9512300"/>
                <a:gd name="connsiteY41" fmla="*/ 1295400 h 5480050"/>
                <a:gd name="connsiteX42" fmla="*/ 2311400 w 9512300"/>
                <a:gd name="connsiteY42" fmla="*/ 1504950 h 5480050"/>
                <a:gd name="connsiteX43" fmla="*/ 2419350 w 9512300"/>
                <a:gd name="connsiteY43" fmla="*/ 1504950 h 5480050"/>
                <a:gd name="connsiteX44" fmla="*/ 2533650 w 9512300"/>
                <a:gd name="connsiteY44" fmla="*/ 1403350 h 5480050"/>
                <a:gd name="connsiteX45" fmla="*/ 2755900 w 9512300"/>
                <a:gd name="connsiteY45" fmla="*/ 1397000 h 5480050"/>
                <a:gd name="connsiteX46" fmla="*/ 2990850 w 9512300"/>
                <a:gd name="connsiteY46" fmla="*/ 1619250 h 5480050"/>
                <a:gd name="connsiteX47" fmla="*/ 3105150 w 9512300"/>
                <a:gd name="connsiteY47" fmla="*/ 1612900 h 5480050"/>
                <a:gd name="connsiteX48" fmla="*/ 3206750 w 9512300"/>
                <a:gd name="connsiteY48" fmla="*/ 1714500 h 5480050"/>
                <a:gd name="connsiteX49" fmla="*/ 3556000 w 9512300"/>
                <a:gd name="connsiteY49" fmla="*/ 1708150 h 5480050"/>
                <a:gd name="connsiteX50" fmla="*/ 3670300 w 9512300"/>
                <a:gd name="connsiteY50" fmla="*/ 1587500 h 5480050"/>
                <a:gd name="connsiteX51" fmla="*/ 3670300 w 9512300"/>
                <a:gd name="connsiteY51" fmla="*/ 1530350 h 5480050"/>
                <a:gd name="connsiteX52" fmla="*/ 3378200 w 9512300"/>
                <a:gd name="connsiteY52" fmla="*/ 1225550 h 5480050"/>
                <a:gd name="connsiteX53" fmla="*/ 3378200 w 9512300"/>
                <a:gd name="connsiteY53" fmla="*/ 1181100 h 5480050"/>
                <a:gd name="connsiteX54" fmla="*/ 3498850 w 9512300"/>
                <a:gd name="connsiteY54" fmla="*/ 1041400 h 5480050"/>
                <a:gd name="connsiteX55" fmla="*/ 3498850 w 9512300"/>
                <a:gd name="connsiteY55" fmla="*/ 971550 h 5480050"/>
                <a:gd name="connsiteX56" fmla="*/ 3594100 w 9512300"/>
                <a:gd name="connsiteY56" fmla="*/ 857250 h 5480050"/>
                <a:gd name="connsiteX57" fmla="*/ 3727450 w 9512300"/>
                <a:gd name="connsiteY57" fmla="*/ 857250 h 5480050"/>
                <a:gd name="connsiteX58" fmla="*/ 3765550 w 9512300"/>
                <a:gd name="connsiteY58" fmla="*/ 838200 h 5480050"/>
                <a:gd name="connsiteX59" fmla="*/ 3765550 w 9512300"/>
                <a:gd name="connsiteY59" fmla="*/ 793750 h 5480050"/>
                <a:gd name="connsiteX60" fmla="*/ 3594100 w 9512300"/>
                <a:gd name="connsiteY60" fmla="*/ 609600 h 5480050"/>
                <a:gd name="connsiteX61" fmla="*/ 3594100 w 9512300"/>
                <a:gd name="connsiteY61" fmla="*/ 539750 h 5480050"/>
                <a:gd name="connsiteX62" fmla="*/ 3670300 w 9512300"/>
                <a:gd name="connsiteY62" fmla="*/ 450850 h 5480050"/>
                <a:gd name="connsiteX63" fmla="*/ 3695700 w 9512300"/>
                <a:gd name="connsiteY63" fmla="*/ 450850 h 5480050"/>
                <a:gd name="connsiteX64" fmla="*/ 3740150 w 9512300"/>
                <a:gd name="connsiteY64" fmla="*/ 482600 h 5480050"/>
                <a:gd name="connsiteX65" fmla="*/ 4032250 w 9512300"/>
                <a:gd name="connsiteY65" fmla="*/ 482600 h 5480050"/>
                <a:gd name="connsiteX66" fmla="*/ 4127500 w 9512300"/>
                <a:gd name="connsiteY66" fmla="*/ 387350 h 5480050"/>
                <a:gd name="connsiteX67" fmla="*/ 4489450 w 9512300"/>
                <a:gd name="connsiteY67" fmla="*/ 387350 h 5480050"/>
                <a:gd name="connsiteX68" fmla="*/ 4622800 w 9512300"/>
                <a:gd name="connsiteY68" fmla="*/ 260350 h 5480050"/>
                <a:gd name="connsiteX69" fmla="*/ 4933950 w 9512300"/>
                <a:gd name="connsiteY69" fmla="*/ 254000 h 5480050"/>
                <a:gd name="connsiteX70" fmla="*/ 5175250 w 9512300"/>
                <a:gd name="connsiteY70" fmla="*/ 0 h 5480050"/>
                <a:gd name="connsiteX71" fmla="*/ 5543550 w 9512300"/>
                <a:gd name="connsiteY71" fmla="*/ 0 h 5480050"/>
                <a:gd name="connsiteX72" fmla="*/ 5695950 w 9512300"/>
                <a:gd name="connsiteY72" fmla="*/ 165100 h 5480050"/>
                <a:gd name="connsiteX73" fmla="*/ 5689600 w 9512300"/>
                <a:gd name="connsiteY73" fmla="*/ 349250 h 5480050"/>
                <a:gd name="connsiteX74" fmla="*/ 5772150 w 9512300"/>
                <a:gd name="connsiteY74" fmla="*/ 425450 h 5480050"/>
                <a:gd name="connsiteX75" fmla="*/ 6153150 w 9512300"/>
                <a:gd name="connsiteY75" fmla="*/ 419100 h 5480050"/>
                <a:gd name="connsiteX76" fmla="*/ 6178550 w 9512300"/>
                <a:gd name="connsiteY76" fmla="*/ 482600 h 5480050"/>
                <a:gd name="connsiteX77" fmla="*/ 6153150 w 9512300"/>
                <a:gd name="connsiteY77" fmla="*/ 514350 h 5480050"/>
                <a:gd name="connsiteX78" fmla="*/ 6115050 w 9512300"/>
                <a:gd name="connsiteY78" fmla="*/ 571500 h 5480050"/>
                <a:gd name="connsiteX79" fmla="*/ 6115050 w 9512300"/>
                <a:gd name="connsiteY79" fmla="*/ 609600 h 5480050"/>
                <a:gd name="connsiteX80" fmla="*/ 6203950 w 9512300"/>
                <a:gd name="connsiteY80" fmla="*/ 666750 h 5480050"/>
                <a:gd name="connsiteX81" fmla="*/ 6235700 w 9512300"/>
                <a:gd name="connsiteY81" fmla="*/ 673100 h 5480050"/>
                <a:gd name="connsiteX82" fmla="*/ 6254750 w 9512300"/>
                <a:gd name="connsiteY82" fmla="*/ 666750 h 5480050"/>
                <a:gd name="connsiteX83" fmla="*/ 6318250 w 9512300"/>
                <a:gd name="connsiteY83" fmla="*/ 596900 h 5480050"/>
                <a:gd name="connsiteX84" fmla="*/ 6407150 w 9512300"/>
                <a:gd name="connsiteY84" fmla="*/ 596900 h 5480050"/>
                <a:gd name="connsiteX85" fmla="*/ 6743700 w 9512300"/>
                <a:gd name="connsiteY85" fmla="*/ 260350 h 5480050"/>
                <a:gd name="connsiteX86" fmla="*/ 6877050 w 9512300"/>
                <a:gd name="connsiteY86" fmla="*/ 260350 h 5480050"/>
                <a:gd name="connsiteX87" fmla="*/ 6819900 w 9512300"/>
                <a:gd name="connsiteY87" fmla="*/ 323850 h 5480050"/>
                <a:gd name="connsiteX88" fmla="*/ 6819900 w 9512300"/>
                <a:gd name="connsiteY88" fmla="*/ 361950 h 5480050"/>
                <a:gd name="connsiteX89" fmla="*/ 7035800 w 9512300"/>
                <a:gd name="connsiteY89" fmla="*/ 584200 h 5480050"/>
                <a:gd name="connsiteX90" fmla="*/ 7137400 w 9512300"/>
                <a:gd name="connsiteY90" fmla="*/ 577850 h 5480050"/>
                <a:gd name="connsiteX91" fmla="*/ 7766050 w 9512300"/>
                <a:gd name="connsiteY91" fmla="*/ 1219200 h 5480050"/>
                <a:gd name="connsiteX92" fmla="*/ 7804150 w 9512300"/>
                <a:gd name="connsiteY92" fmla="*/ 1219200 h 5480050"/>
                <a:gd name="connsiteX93" fmla="*/ 7886700 w 9512300"/>
                <a:gd name="connsiteY93" fmla="*/ 1136650 h 5480050"/>
                <a:gd name="connsiteX94" fmla="*/ 8007350 w 9512300"/>
                <a:gd name="connsiteY94" fmla="*/ 1136650 h 5480050"/>
                <a:gd name="connsiteX95" fmla="*/ 7905750 w 9512300"/>
                <a:gd name="connsiteY95" fmla="*/ 1238250 h 5480050"/>
                <a:gd name="connsiteX96" fmla="*/ 7912100 w 9512300"/>
                <a:gd name="connsiteY96" fmla="*/ 1289050 h 5480050"/>
                <a:gd name="connsiteX97" fmla="*/ 7950200 w 9512300"/>
                <a:gd name="connsiteY97" fmla="*/ 1308100 h 5480050"/>
                <a:gd name="connsiteX98" fmla="*/ 8013700 w 9512300"/>
                <a:gd name="connsiteY98" fmla="*/ 1308100 h 5480050"/>
                <a:gd name="connsiteX99" fmla="*/ 8083550 w 9512300"/>
                <a:gd name="connsiteY99" fmla="*/ 1377950 h 5480050"/>
                <a:gd name="connsiteX100" fmla="*/ 8229600 w 9512300"/>
                <a:gd name="connsiteY100" fmla="*/ 1377950 h 5480050"/>
                <a:gd name="connsiteX101" fmla="*/ 8413750 w 9512300"/>
                <a:gd name="connsiteY101" fmla="*/ 1206500 h 5480050"/>
                <a:gd name="connsiteX102" fmla="*/ 8572500 w 9512300"/>
                <a:gd name="connsiteY102" fmla="*/ 1200150 h 5480050"/>
                <a:gd name="connsiteX103" fmla="*/ 8801100 w 9512300"/>
                <a:gd name="connsiteY103" fmla="*/ 1409700 h 5480050"/>
                <a:gd name="connsiteX104" fmla="*/ 8909050 w 9512300"/>
                <a:gd name="connsiteY104" fmla="*/ 1409700 h 5480050"/>
                <a:gd name="connsiteX105" fmla="*/ 9048750 w 9512300"/>
                <a:gd name="connsiteY105" fmla="*/ 1549400 h 5480050"/>
                <a:gd name="connsiteX106" fmla="*/ 9169400 w 9512300"/>
                <a:gd name="connsiteY106" fmla="*/ 1549400 h 5480050"/>
                <a:gd name="connsiteX107" fmla="*/ 9251950 w 9512300"/>
                <a:gd name="connsiteY107" fmla="*/ 1460500 h 5480050"/>
                <a:gd name="connsiteX108" fmla="*/ 9296400 w 9512300"/>
                <a:gd name="connsiteY108" fmla="*/ 1454150 h 5480050"/>
                <a:gd name="connsiteX109" fmla="*/ 9404350 w 9512300"/>
                <a:gd name="connsiteY109" fmla="*/ 1536700 h 5480050"/>
                <a:gd name="connsiteX110" fmla="*/ 9512300 w 9512300"/>
                <a:gd name="connsiteY110" fmla="*/ 1536700 h 5480050"/>
                <a:gd name="connsiteX111" fmla="*/ 9410700 w 9512300"/>
                <a:gd name="connsiteY111" fmla="*/ 1651000 h 5480050"/>
                <a:gd name="connsiteX112" fmla="*/ 9366250 w 9512300"/>
                <a:gd name="connsiteY112" fmla="*/ 1651000 h 5480050"/>
                <a:gd name="connsiteX113" fmla="*/ 9366250 w 9512300"/>
                <a:gd name="connsiteY113" fmla="*/ 1663700 h 5480050"/>
                <a:gd name="connsiteX114" fmla="*/ 9366250 w 9512300"/>
                <a:gd name="connsiteY114" fmla="*/ 1898650 h 5480050"/>
                <a:gd name="connsiteX115" fmla="*/ 9232900 w 9512300"/>
                <a:gd name="connsiteY115" fmla="*/ 2006600 h 5480050"/>
                <a:gd name="connsiteX116" fmla="*/ 9232900 w 9512300"/>
                <a:gd name="connsiteY116" fmla="*/ 2146300 h 5480050"/>
                <a:gd name="connsiteX117" fmla="*/ 9302750 w 9512300"/>
                <a:gd name="connsiteY117" fmla="*/ 2292350 h 5480050"/>
                <a:gd name="connsiteX118" fmla="*/ 9302750 w 9512300"/>
                <a:gd name="connsiteY118" fmla="*/ 2432050 h 5480050"/>
                <a:gd name="connsiteX119" fmla="*/ 9156700 w 9512300"/>
                <a:gd name="connsiteY119" fmla="*/ 2590800 h 5480050"/>
                <a:gd name="connsiteX120" fmla="*/ 8756650 w 9512300"/>
                <a:gd name="connsiteY120" fmla="*/ 2578100 h 5480050"/>
                <a:gd name="connsiteX121" fmla="*/ 8699500 w 9512300"/>
                <a:gd name="connsiteY121" fmla="*/ 2616200 h 5480050"/>
                <a:gd name="connsiteX122" fmla="*/ 8693150 w 9512300"/>
                <a:gd name="connsiteY122" fmla="*/ 3130550 h 5480050"/>
                <a:gd name="connsiteX123" fmla="*/ 8820150 w 9512300"/>
                <a:gd name="connsiteY123" fmla="*/ 3276600 h 5480050"/>
                <a:gd name="connsiteX124" fmla="*/ 8693150 w 9512300"/>
                <a:gd name="connsiteY124" fmla="*/ 3409950 h 5480050"/>
                <a:gd name="connsiteX125" fmla="*/ 8636000 w 9512300"/>
                <a:gd name="connsiteY125" fmla="*/ 3409950 h 5480050"/>
                <a:gd name="connsiteX126" fmla="*/ 8559800 w 9512300"/>
                <a:gd name="connsiteY126" fmla="*/ 3346450 h 5480050"/>
                <a:gd name="connsiteX127" fmla="*/ 8489950 w 9512300"/>
                <a:gd name="connsiteY127" fmla="*/ 3346450 h 5480050"/>
                <a:gd name="connsiteX128" fmla="*/ 8343900 w 9512300"/>
                <a:gd name="connsiteY128" fmla="*/ 3492500 h 5480050"/>
                <a:gd name="connsiteX129" fmla="*/ 8331200 w 9512300"/>
                <a:gd name="connsiteY129" fmla="*/ 3543300 h 5480050"/>
                <a:gd name="connsiteX130" fmla="*/ 8394700 w 9512300"/>
                <a:gd name="connsiteY130" fmla="*/ 3632200 h 5480050"/>
                <a:gd name="connsiteX131" fmla="*/ 8394700 w 9512300"/>
                <a:gd name="connsiteY131" fmla="*/ 3816350 h 5480050"/>
                <a:gd name="connsiteX132" fmla="*/ 8572500 w 9512300"/>
                <a:gd name="connsiteY132" fmla="*/ 3987800 h 5480050"/>
                <a:gd name="connsiteX133" fmla="*/ 8572500 w 9512300"/>
                <a:gd name="connsiteY133" fmla="*/ 4032250 h 5480050"/>
                <a:gd name="connsiteX134" fmla="*/ 8432800 w 9512300"/>
                <a:gd name="connsiteY134" fmla="*/ 4178300 h 5480050"/>
                <a:gd name="connsiteX135" fmla="*/ 8426450 w 9512300"/>
                <a:gd name="connsiteY135" fmla="*/ 4337050 h 5480050"/>
                <a:gd name="connsiteX136" fmla="*/ 8502650 w 9512300"/>
                <a:gd name="connsiteY136" fmla="*/ 4425950 h 5480050"/>
                <a:gd name="connsiteX137" fmla="*/ 8509000 w 9512300"/>
                <a:gd name="connsiteY137" fmla="*/ 4476750 h 5480050"/>
                <a:gd name="connsiteX138" fmla="*/ 8458200 w 9512300"/>
                <a:gd name="connsiteY138" fmla="*/ 4502150 h 5480050"/>
                <a:gd name="connsiteX139" fmla="*/ 8426450 w 9512300"/>
                <a:gd name="connsiteY139" fmla="*/ 4495800 h 5480050"/>
                <a:gd name="connsiteX140" fmla="*/ 8356600 w 9512300"/>
                <a:gd name="connsiteY140" fmla="*/ 4413250 h 5480050"/>
                <a:gd name="connsiteX141" fmla="*/ 8197850 w 9512300"/>
                <a:gd name="connsiteY141" fmla="*/ 4413250 h 5480050"/>
                <a:gd name="connsiteX142" fmla="*/ 8185150 w 9512300"/>
                <a:gd name="connsiteY142" fmla="*/ 4406900 h 5480050"/>
                <a:gd name="connsiteX143" fmla="*/ 8083550 w 9512300"/>
                <a:gd name="connsiteY143" fmla="*/ 4298950 h 5480050"/>
                <a:gd name="connsiteX144" fmla="*/ 7670800 w 9512300"/>
                <a:gd name="connsiteY144" fmla="*/ 4298950 h 5480050"/>
                <a:gd name="connsiteX145" fmla="*/ 7645400 w 9512300"/>
                <a:gd name="connsiteY145" fmla="*/ 4305300 h 5480050"/>
                <a:gd name="connsiteX146" fmla="*/ 7537450 w 9512300"/>
                <a:gd name="connsiteY146" fmla="*/ 4419600 h 5480050"/>
                <a:gd name="connsiteX147" fmla="*/ 7270750 w 9512300"/>
                <a:gd name="connsiteY147" fmla="*/ 4419600 h 5480050"/>
                <a:gd name="connsiteX148" fmla="*/ 7219950 w 9512300"/>
                <a:gd name="connsiteY148" fmla="*/ 4438650 h 5480050"/>
                <a:gd name="connsiteX149" fmla="*/ 7156450 w 9512300"/>
                <a:gd name="connsiteY149" fmla="*/ 4508500 h 5480050"/>
                <a:gd name="connsiteX150" fmla="*/ 7086600 w 9512300"/>
                <a:gd name="connsiteY150" fmla="*/ 4508500 h 5480050"/>
                <a:gd name="connsiteX151" fmla="*/ 6978650 w 9512300"/>
                <a:gd name="connsiteY151" fmla="*/ 4406900 h 5480050"/>
                <a:gd name="connsiteX152" fmla="*/ 6769100 w 9512300"/>
                <a:gd name="connsiteY152" fmla="*/ 4406900 h 5480050"/>
                <a:gd name="connsiteX153" fmla="*/ 6629400 w 9512300"/>
                <a:gd name="connsiteY153" fmla="*/ 4470400 h 5480050"/>
                <a:gd name="connsiteX154" fmla="*/ 6629400 w 9512300"/>
                <a:gd name="connsiteY154" fmla="*/ 4584700 h 5480050"/>
                <a:gd name="connsiteX155" fmla="*/ 6642100 w 9512300"/>
                <a:gd name="connsiteY155" fmla="*/ 4616450 h 5480050"/>
                <a:gd name="connsiteX156" fmla="*/ 6692900 w 9512300"/>
                <a:gd name="connsiteY156" fmla="*/ 4667250 h 5480050"/>
                <a:gd name="connsiteX157" fmla="*/ 6642100 w 9512300"/>
                <a:gd name="connsiteY157" fmla="*/ 4724400 h 5480050"/>
                <a:gd name="connsiteX158" fmla="*/ 6591300 w 9512300"/>
                <a:gd name="connsiteY158" fmla="*/ 4711700 h 5480050"/>
                <a:gd name="connsiteX159" fmla="*/ 6489700 w 9512300"/>
                <a:gd name="connsiteY159" fmla="*/ 4591050 h 5480050"/>
                <a:gd name="connsiteX160" fmla="*/ 6083300 w 9512300"/>
                <a:gd name="connsiteY160" fmla="*/ 4591050 h 5480050"/>
                <a:gd name="connsiteX161" fmla="*/ 5930900 w 9512300"/>
                <a:gd name="connsiteY161" fmla="*/ 4737100 h 5480050"/>
                <a:gd name="connsiteX162" fmla="*/ 5924550 w 9512300"/>
                <a:gd name="connsiteY162" fmla="*/ 4876800 h 5480050"/>
                <a:gd name="connsiteX163" fmla="*/ 5892800 w 9512300"/>
                <a:gd name="connsiteY163" fmla="*/ 4902200 h 5480050"/>
                <a:gd name="connsiteX164" fmla="*/ 5829300 w 9512300"/>
                <a:gd name="connsiteY164" fmla="*/ 4902200 h 5480050"/>
                <a:gd name="connsiteX165" fmla="*/ 5448300 w 9512300"/>
                <a:gd name="connsiteY165" fmla="*/ 5257800 h 5480050"/>
                <a:gd name="connsiteX166" fmla="*/ 5448300 w 9512300"/>
                <a:gd name="connsiteY166" fmla="*/ 5346700 h 5480050"/>
                <a:gd name="connsiteX167" fmla="*/ 5530850 w 9512300"/>
                <a:gd name="connsiteY167" fmla="*/ 5429250 h 5480050"/>
                <a:gd name="connsiteX168" fmla="*/ 5486400 w 9512300"/>
                <a:gd name="connsiteY168" fmla="*/ 5480050 h 5480050"/>
                <a:gd name="connsiteX169" fmla="*/ 5429250 w 9512300"/>
                <a:gd name="connsiteY169" fmla="*/ 5480050 h 5480050"/>
                <a:gd name="connsiteX170" fmla="*/ 5289550 w 9512300"/>
                <a:gd name="connsiteY170" fmla="*/ 5340350 h 5480050"/>
                <a:gd name="connsiteX171" fmla="*/ 5175250 w 9512300"/>
                <a:gd name="connsiteY171" fmla="*/ 5340350 h 5480050"/>
                <a:gd name="connsiteX172" fmla="*/ 5130800 w 9512300"/>
                <a:gd name="connsiteY172" fmla="*/ 5314950 h 5480050"/>
                <a:gd name="connsiteX173" fmla="*/ 5092700 w 9512300"/>
                <a:gd name="connsiteY173" fmla="*/ 5270500 h 5480050"/>
                <a:gd name="connsiteX174" fmla="*/ 4972050 w 9512300"/>
                <a:gd name="connsiteY174" fmla="*/ 5270500 h 5480050"/>
                <a:gd name="connsiteX175" fmla="*/ 4762500 w 9512300"/>
                <a:gd name="connsiteY175" fmla="*/ 5086350 h 5480050"/>
                <a:gd name="connsiteX176" fmla="*/ 4762500 w 9512300"/>
                <a:gd name="connsiteY176" fmla="*/ 5029200 h 5480050"/>
                <a:gd name="connsiteX177" fmla="*/ 4737100 w 9512300"/>
                <a:gd name="connsiteY177" fmla="*/ 4991100 h 5480050"/>
                <a:gd name="connsiteX178" fmla="*/ 4673600 w 9512300"/>
                <a:gd name="connsiteY178" fmla="*/ 4991100 h 5480050"/>
                <a:gd name="connsiteX179" fmla="*/ 4629150 w 9512300"/>
                <a:gd name="connsiteY179" fmla="*/ 4959350 h 5480050"/>
                <a:gd name="connsiteX180" fmla="*/ 4635500 w 9512300"/>
                <a:gd name="connsiteY180" fmla="*/ 4578350 h 5480050"/>
                <a:gd name="connsiteX181" fmla="*/ 4616450 w 9512300"/>
                <a:gd name="connsiteY181" fmla="*/ 4527550 h 5480050"/>
                <a:gd name="connsiteX182" fmla="*/ 4425950 w 9512300"/>
                <a:gd name="connsiteY182" fmla="*/ 4330700 h 5480050"/>
                <a:gd name="connsiteX183" fmla="*/ 3594100 w 9512300"/>
                <a:gd name="connsiteY183" fmla="*/ 4330700 h 5480050"/>
                <a:gd name="connsiteX184" fmla="*/ 3206750 w 9512300"/>
                <a:gd name="connsiteY184" fmla="*/ 3930650 h 5480050"/>
                <a:gd name="connsiteX185" fmla="*/ 3213100 w 9512300"/>
                <a:gd name="connsiteY185" fmla="*/ 3536950 h 5480050"/>
                <a:gd name="connsiteX186" fmla="*/ 3117850 w 9512300"/>
                <a:gd name="connsiteY186" fmla="*/ 3467100 h 5480050"/>
                <a:gd name="connsiteX187" fmla="*/ 3073400 w 9512300"/>
                <a:gd name="connsiteY187" fmla="*/ 3390900 h 5480050"/>
                <a:gd name="connsiteX188" fmla="*/ 2863850 w 9512300"/>
                <a:gd name="connsiteY188" fmla="*/ 3403600 h 5480050"/>
                <a:gd name="connsiteX189" fmla="*/ 2813050 w 9512300"/>
                <a:gd name="connsiteY189" fmla="*/ 3346450 h 5480050"/>
                <a:gd name="connsiteX190" fmla="*/ 2768600 w 9512300"/>
                <a:gd name="connsiteY190" fmla="*/ 3346450 h 5480050"/>
                <a:gd name="connsiteX191" fmla="*/ 2495550 w 9512300"/>
                <a:gd name="connsiteY191" fmla="*/ 3619500 h 5480050"/>
                <a:gd name="connsiteX192" fmla="*/ 2095500 w 9512300"/>
                <a:gd name="connsiteY192" fmla="*/ 3619500 h 5480050"/>
                <a:gd name="connsiteX193" fmla="*/ 1885950 w 9512300"/>
                <a:gd name="connsiteY193" fmla="*/ 3829050 h 5480050"/>
                <a:gd name="connsiteX194" fmla="*/ 1885950 w 9512300"/>
                <a:gd name="connsiteY194" fmla="*/ 4648200 h 5480050"/>
                <a:gd name="connsiteX195" fmla="*/ 1708150 w 9512300"/>
                <a:gd name="connsiteY195" fmla="*/ 4845050 h 5480050"/>
                <a:gd name="connsiteX196" fmla="*/ 1657350 w 9512300"/>
                <a:gd name="connsiteY196" fmla="*/ 4845050 h 5480050"/>
                <a:gd name="connsiteX197" fmla="*/ 1333500 w 9512300"/>
                <a:gd name="connsiteY197" fmla="*/ 4514850 h 5480050"/>
                <a:gd name="connsiteX198" fmla="*/ 1073150 w 9512300"/>
                <a:gd name="connsiteY198" fmla="*/ 4514850 h 5480050"/>
                <a:gd name="connsiteX199" fmla="*/ 946150 w 9512300"/>
                <a:gd name="connsiteY199" fmla="*/ 4648200 h 5480050"/>
                <a:gd name="connsiteX200" fmla="*/ 901700 w 9512300"/>
                <a:gd name="connsiteY200" fmla="*/ 4654550 h 5480050"/>
                <a:gd name="connsiteX201" fmla="*/ 800100 w 9512300"/>
                <a:gd name="connsiteY201" fmla="*/ 4565650 h 5480050"/>
                <a:gd name="connsiteX202" fmla="*/ 800100 w 9512300"/>
                <a:gd name="connsiteY202" fmla="*/ 4502150 h 5480050"/>
                <a:gd name="connsiteX203" fmla="*/ 927100 w 9512300"/>
                <a:gd name="connsiteY203" fmla="*/ 4362450 h 5480050"/>
                <a:gd name="connsiteX204" fmla="*/ 939800 w 9512300"/>
                <a:gd name="connsiteY204" fmla="*/ 4311650 h 5480050"/>
                <a:gd name="connsiteX205" fmla="*/ 673100 w 9512300"/>
                <a:gd name="connsiteY205" fmla="*/ 4038600 h 5480050"/>
                <a:gd name="connsiteX206" fmla="*/ 679450 w 9512300"/>
                <a:gd name="connsiteY206" fmla="*/ 3683000 h 5480050"/>
                <a:gd name="connsiteX207" fmla="*/ 520700 w 9512300"/>
                <a:gd name="connsiteY207" fmla="*/ 3511550 h 5480050"/>
                <a:gd name="connsiteX208" fmla="*/ 514350 w 9512300"/>
                <a:gd name="connsiteY208" fmla="*/ 3460750 h 5480050"/>
                <a:gd name="connsiteX209" fmla="*/ 558800 w 9512300"/>
                <a:gd name="connsiteY209" fmla="*/ 3409950 h 5480050"/>
                <a:gd name="connsiteX210" fmla="*/ 609600 w 9512300"/>
                <a:gd name="connsiteY210" fmla="*/ 3409950 h 5480050"/>
                <a:gd name="connsiteX211" fmla="*/ 717550 w 9512300"/>
                <a:gd name="connsiteY211" fmla="*/ 3505200 h 5480050"/>
                <a:gd name="connsiteX212" fmla="*/ 749300 w 9512300"/>
                <a:gd name="connsiteY212" fmla="*/ 3505200 h 5480050"/>
                <a:gd name="connsiteX213" fmla="*/ 781050 w 9512300"/>
                <a:gd name="connsiteY213" fmla="*/ 3473450 h 5480050"/>
                <a:gd name="connsiteX214" fmla="*/ 781050 w 9512300"/>
                <a:gd name="connsiteY214" fmla="*/ 3327400 h 5480050"/>
                <a:gd name="connsiteX215" fmla="*/ 869950 w 9512300"/>
                <a:gd name="connsiteY215" fmla="*/ 3238500 h 5480050"/>
                <a:gd name="connsiteX216" fmla="*/ 1085850 w 9512300"/>
                <a:gd name="connsiteY216" fmla="*/ 3238500 h 5480050"/>
                <a:gd name="connsiteX217" fmla="*/ 1282700 w 9512300"/>
                <a:gd name="connsiteY217" fmla="*/ 3441700 h 5480050"/>
                <a:gd name="connsiteX218" fmla="*/ 1422400 w 9512300"/>
                <a:gd name="connsiteY218" fmla="*/ 3441700 h 5480050"/>
                <a:gd name="connsiteX219" fmla="*/ 1511300 w 9512300"/>
                <a:gd name="connsiteY219" fmla="*/ 3346450 h 5480050"/>
                <a:gd name="connsiteX220" fmla="*/ 1511300 w 9512300"/>
                <a:gd name="connsiteY220" fmla="*/ 3314700 h 5480050"/>
                <a:gd name="connsiteX221" fmla="*/ 1384300 w 9512300"/>
                <a:gd name="connsiteY221" fmla="*/ 3162300 h 5480050"/>
                <a:gd name="connsiteX222" fmla="*/ 1377950 w 9512300"/>
                <a:gd name="connsiteY222" fmla="*/ 3124200 h 5480050"/>
                <a:gd name="connsiteX223" fmla="*/ 1435100 w 9512300"/>
                <a:gd name="connsiteY223" fmla="*/ 3079750 h 5480050"/>
                <a:gd name="connsiteX224" fmla="*/ 1441450 w 9512300"/>
                <a:gd name="connsiteY224" fmla="*/ 2838450 h 5480050"/>
                <a:gd name="connsiteX225" fmla="*/ 1422400 w 9512300"/>
                <a:gd name="connsiteY225" fmla="*/ 2813050 h 5480050"/>
                <a:gd name="connsiteX226" fmla="*/ 1282700 w 9512300"/>
                <a:gd name="connsiteY226" fmla="*/ 2667000 h 5480050"/>
                <a:gd name="connsiteX227" fmla="*/ 1168400 w 9512300"/>
                <a:gd name="connsiteY227" fmla="*/ 2667000 h 5480050"/>
                <a:gd name="connsiteX228" fmla="*/ 1092200 w 9512300"/>
                <a:gd name="connsiteY228" fmla="*/ 2584450 h 5480050"/>
                <a:gd name="connsiteX229" fmla="*/ 857250 w 9512300"/>
                <a:gd name="connsiteY229" fmla="*/ 2584450 h 5480050"/>
                <a:gd name="connsiteX230" fmla="*/ 698500 w 9512300"/>
                <a:gd name="connsiteY230" fmla="*/ 2743200 h 5480050"/>
                <a:gd name="connsiteX231" fmla="*/ 425450 w 9512300"/>
                <a:gd name="connsiteY231" fmla="*/ 2743200 h 5480050"/>
                <a:gd name="connsiteX232" fmla="*/ 400050 w 9512300"/>
                <a:gd name="connsiteY232" fmla="*/ 2705100 h 5480050"/>
                <a:gd name="connsiteX233" fmla="*/ 336550 w 9512300"/>
                <a:gd name="connsiteY233" fmla="*/ 2705100 h 5480050"/>
                <a:gd name="connsiteX234" fmla="*/ 254000 w 9512300"/>
                <a:gd name="connsiteY234" fmla="*/ 2794000 h 5480050"/>
                <a:gd name="connsiteX235" fmla="*/ 273050 w 9512300"/>
                <a:gd name="connsiteY235" fmla="*/ 2578100 h 548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9512300" h="5480050">
                  <a:moveTo>
                    <a:pt x="273050" y="2578100"/>
                  </a:moveTo>
                  <a:lnTo>
                    <a:pt x="374650" y="2571750"/>
                  </a:lnTo>
                  <a:lnTo>
                    <a:pt x="400050" y="2533650"/>
                  </a:lnTo>
                  <a:lnTo>
                    <a:pt x="406400" y="2368550"/>
                  </a:lnTo>
                  <a:lnTo>
                    <a:pt x="381000" y="2336800"/>
                  </a:lnTo>
                  <a:lnTo>
                    <a:pt x="254000" y="2216150"/>
                  </a:lnTo>
                  <a:lnTo>
                    <a:pt x="222250" y="2197100"/>
                  </a:lnTo>
                  <a:lnTo>
                    <a:pt x="127000" y="2190750"/>
                  </a:lnTo>
                  <a:lnTo>
                    <a:pt x="101600" y="2184400"/>
                  </a:lnTo>
                  <a:lnTo>
                    <a:pt x="38100" y="2108200"/>
                  </a:lnTo>
                  <a:lnTo>
                    <a:pt x="31750" y="1924050"/>
                  </a:lnTo>
                  <a:lnTo>
                    <a:pt x="6350" y="1873250"/>
                  </a:lnTo>
                  <a:lnTo>
                    <a:pt x="6350" y="1873250"/>
                  </a:lnTo>
                  <a:lnTo>
                    <a:pt x="0" y="1803400"/>
                  </a:lnTo>
                  <a:lnTo>
                    <a:pt x="139700" y="1676400"/>
                  </a:lnTo>
                  <a:lnTo>
                    <a:pt x="190500" y="1663700"/>
                  </a:lnTo>
                  <a:lnTo>
                    <a:pt x="196850" y="1619250"/>
                  </a:lnTo>
                  <a:lnTo>
                    <a:pt x="203200" y="1473200"/>
                  </a:lnTo>
                  <a:lnTo>
                    <a:pt x="209550" y="1460500"/>
                  </a:lnTo>
                  <a:lnTo>
                    <a:pt x="431800" y="1231900"/>
                  </a:lnTo>
                  <a:lnTo>
                    <a:pt x="495300" y="1231900"/>
                  </a:lnTo>
                  <a:lnTo>
                    <a:pt x="527050" y="1282700"/>
                  </a:lnTo>
                  <a:lnTo>
                    <a:pt x="527050" y="1416050"/>
                  </a:lnTo>
                  <a:lnTo>
                    <a:pt x="539750" y="1447800"/>
                  </a:lnTo>
                  <a:lnTo>
                    <a:pt x="577850" y="1454150"/>
                  </a:lnTo>
                  <a:lnTo>
                    <a:pt x="654050" y="1454150"/>
                  </a:lnTo>
                  <a:lnTo>
                    <a:pt x="685800" y="1447800"/>
                  </a:lnTo>
                  <a:lnTo>
                    <a:pt x="698500" y="1435100"/>
                  </a:lnTo>
                  <a:lnTo>
                    <a:pt x="698500" y="1263650"/>
                  </a:lnTo>
                  <a:lnTo>
                    <a:pt x="698500" y="1238250"/>
                  </a:lnTo>
                  <a:lnTo>
                    <a:pt x="908050" y="1028700"/>
                  </a:lnTo>
                  <a:lnTo>
                    <a:pt x="939800" y="1009650"/>
                  </a:lnTo>
                  <a:lnTo>
                    <a:pt x="1136650" y="1009650"/>
                  </a:lnTo>
                  <a:lnTo>
                    <a:pt x="1231900" y="920750"/>
                  </a:lnTo>
                  <a:lnTo>
                    <a:pt x="1314450" y="920750"/>
                  </a:lnTo>
                  <a:lnTo>
                    <a:pt x="1397000" y="1009650"/>
                  </a:lnTo>
                  <a:lnTo>
                    <a:pt x="1435100" y="1022350"/>
                  </a:lnTo>
                  <a:lnTo>
                    <a:pt x="1574800" y="1016000"/>
                  </a:lnTo>
                  <a:lnTo>
                    <a:pt x="1657350" y="1104900"/>
                  </a:lnTo>
                  <a:lnTo>
                    <a:pt x="1727200" y="1104900"/>
                  </a:lnTo>
                  <a:lnTo>
                    <a:pt x="2025650" y="1282700"/>
                  </a:lnTo>
                  <a:lnTo>
                    <a:pt x="2108200" y="1295400"/>
                  </a:lnTo>
                  <a:lnTo>
                    <a:pt x="2311400" y="1504950"/>
                  </a:lnTo>
                  <a:lnTo>
                    <a:pt x="2419350" y="1504950"/>
                  </a:lnTo>
                  <a:lnTo>
                    <a:pt x="2533650" y="1403350"/>
                  </a:lnTo>
                  <a:lnTo>
                    <a:pt x="2755900" y="1397000"/>
                  </a:lnTo>
                  <a:lnTo>
                    <a:pt x="2990850" y="1619250"/>
                  </a:lnTo>
                  <a:lnTo>
                    <a:pt x="3105150" y="1612900"/>
                  </a:lnTo>
                  <a:lnTo>
                    <a:pt x="3206750" y="1714500"/>
                  </a:lnTo>
                  <a:lnTo>
                    <a:pt x="3556000" y="1708150"/>
                  </a:lnTo>
                  <a:lnTo>
                    <a:pt x="3670300" y="1587500"/>
                  </a:lnTo>
                  <a:lnTo>
                    <a:pt x="3670300" y="1530350"/>
                  </a:lnTo>
                  <a:lnTo>
                    <a:pt x="3378200" y="1225550"/>
                  </a:lnTo>
                  <a:lnTo>
                    <a:pt x="3378200" y="1181100"/>
                  </a:lnTo>
                  <a:lnTo>
                    <a:pt x="3498850" y="1041400"/>
                  </a:lnTo>
                  <a:lnTo>
                    <a:pt x="3498850" y="971550"/>
                  </a:lnTo>
                  <a:lnTo>
                    <a:pt x="3594100" y="857250"/>
                  </a:lnTo>
                  <a:lnTo>
                    <a:pt x="3727450" y="857250"/>
                  </a:lnTo>
                  <a:lnTo>
                    <a:pt x="3765550" y="838200"/>
                  </a:lnTo>
                  <a:lnTo>
                    <a:pt x="3765550" y="793750"/>
                  </a:lnTo>
                  <a:lnTo>
                    <a:pt x="3594100" y="609600"/>
                  </a:lnTo>
                  <a:lnTo>
                    <a:pt x="3594100" y="539750"/>
                  </a:lnTo>
                  <a:lnTo>
                    <a:pt x="3670300" y="450850"/>
                  </a:lnTo>
                  <a:lnTo>
                    <a:pt x="3695700" y="450850"/>
                  </a:lnTo>
                  <a:lnTo>
                    <a:pt x="3740150" y="482600"/>
                  </a:lnTo>
                  <a:lnTo>
                    <a:pt x="4032250" y="482600"/>
                  </a:lnTo>
                  <a:lnTo>
                    <a:pt x="4127500" y="387350"/>
                  </a:lnTo>
                  <a:lnTo>
                    <a:pt x="4489450" y="387350"/>
                  </a:lnTo>
                  <a:lnTo>
                    <a:pt x="4622800" y="260350"/>
                  </a:lnTo>
                  <a:lnTo>
                    <a:pt x="4933950" y="254000"/>
                  </a:lnTo>
                  <a:lnTo>
                    <a:pt x="5175250" y="0"/>
                  </a:lnTo>
                  <a:lnTo>
                    <a:pt x="5543550" y="0"/>
                  </a:lnTo>
                  <a:lnTo>
                    <a:pt x="5695950" y="165100"/>
                  </a:lnTo>
                  <a:lnTo>
                    <a:pt x="5689600" y="349250"/>
                  </a:lnTo>
                  <a:lnTo>
                    <a:pt x="5772150" y="425450"/>
                  </a:lnTo>
                  <a:lnTo>
                    <a:pt x="6153150" y="419100"/>
                  </a:lnTo>
                  <a:lnTo>
                    <a:pt x="6178550" y="482600"/>
                  </a:lnTo>
                  <a:lnTo>
                    <a:pt x="6153150" y="514350"/>
                  </a:lnTo>
                  <a:lnTo>
                    <a:pt x="6115050" y="571500"/>
                  </a:lnTo>
                  <a:lnTo>
                    <a:pt x="6115050" y="609600"/>
                  </a:lnTo>
                  <a:lnTo>
                    <a:pt x="6203950" y="666750"/>
                  </a:lnTo>
                  <a:lnTo>
                    <a:pt x="6235700" y="673100"/>
                  </a:lnTo>
                  <a:lnTo>
                    <a:pt x="6254750" y="666750"/>
                  </a:lnTo>
                  <a:lnTo>
                    <a:pt x="6318250" y="596900"/>
                  </a:lnTo>
                  <a:lnTo>
                    <a:pt x="6407150" y="596900"/>
                  </a:lnTo>
                  <a:lnTo>
                    <a:pt x="6743700" y="260350"/>
                  </a:lnTo>
                  <a:lnTo>
                    <a:pt x="6877050" y="260350"/>
                  </a:lnTo>
                  <a:lnTo>
                    <a:pt x="6819900" y="323850"/>
                  </a:lnTo>
                  <a:lnTo>
                    <a:pt x="6819900" y="361950"/>
                  </a:lnTo>
                  <a:lnTo>
                    <a:pt x="7035800" y="584200"/>
                  </a:lnTo>
                  <a:lnTo>
                    <a:pt x="7137400" y="577850"/>
                  </a:lnTo>
                  <a:lnTo>
                    <a:pt x="7766050" y="1219200"/>
                  </a:lnTo>
                  <a:lnTo>
                    <a:pt x="7804150" y="1219200"/>
                  </a:lnTo>
                  <a:lnTo>
                    <a:pt x="7886700" y="1136650"/>
                  </a:lnTo>
                  <a:lnTo>
                    <a:pt x="8007350" y="1136650"/>
                  </a:lnTo>
                  <a:lnTo>
                    <a:pt x="7905750" y="1238250"/>
                  </a:lnTo>
                  <a:lnTo>
                    <a:pt x="7912100" y="1289050"/>
                  </a:lnTo>
                  <a:lnTo>
                    <a:pt x="7950200" y="1308100"/>
                  </a:lnTo>
                  <a:lnTo>
                    <a:pt x="8013700" y="1308100"/>
                  </a:lnTo>
                  <a:lnTo>
                    <a:pt x="8083550" y="1377950"/>
                  </a:lnTo>
                  <a:lnTo>
                    <a:pt x="8229600" y="1377950"/>
                  </a:lnTo>
                  <a:lnTo>
                    <a:pt x="8413750" y="1206500"/>
                  </a:lnTo>
                  <a:lnTo>
                    <a:pt x="8572500" y="1200150"/>
                  </a:lnTo>
                  <a:lnTo>
                    <a:pt x="8801100" y="1409700"/>
                  </a:lnTo>
                  <a:lnTo>
                    <a:pt x="8909050" y="1409700"/>
                  </a:lnTo>
                  <a:lnTo>
                    <a:pt x="9048750" y="1549400"/>
                  </a:lnTo>
                  <a:lnTo>
                    <a:pt x="9169400" y="1549400"/>
                  </a:lnTo>
                  <a:lnTo>
                    <a:pt x="9251950" y="1460500"/>
                  </a:lnTo>
                  <a:lnTo>
                    <a:pt x="9296400" y="1454150"/>
                  </a:lnTo>
                  <a:lnTo>
                    <a:pt x="9404350" y="1536700"/>
                  </a:lnTo>
                  <a:lnTo>
                    <a:pt x="9512300" y="1536700"/>
                  </a:lnTo>
                  <a:lnTo>
                    <a:pt x="9410700" y="1651000"/>
                  </a:lnTo>
                  <a:lnTo>
                    <a:pt x="9366250" y="1651000"/>
                  </a:lnTo>
                  <a:lnTo>
                    <a:pt x="9366250" y="1663700"/>
                  </a:lnTo>
                  <a:lnTo>
                    <a:pt x="9366250" y="1898650"/>
                  </a:lnTo>
                  <a:lnTo>
                    <a:pt x="9232900" y="2006600"/>
                  </a:lnTo>
                  <a:lnTo>
                    <a:pt x="9232900" y="2146300"/>
                  </a:lnTo>
                  <a:lnTo>
                    <a:pt x="9302750" y="2292350"/>
                  </a:lnTo>
                  <a:lnTo>
                    <a:pt x="9302750" y="2432050"/>
                  </a:lnTo>
                  <a:lnTo>
                    <a:pt x="9156700" y="2590800"/>
                  </a:lnTo>
                  <a:lnTo>
                    <a:pt x="8756650" y="2578100"/>
                  </a:lnTo>
                  <a:lnTo>
                    <a:pt x="8699500" y="2616200"/>
                  </a:lnTo>
                  <a:cubicBezTo>
                    <a:pt x="8697383" y="2787650"/>
                    <a:pt x="8695267" y="2959100"/>
                    <a:pt x="8693150" y="3130550"/>
                  </a:cubicBezTo>
                  <a:lnTo>
                    <a:pt x="8820150" y="3276600"/>
                  </a:lnTo>
                  <a:lnTo>
                    <a:pt x="8693150" y="3409950"/>
                  </a:lnTo>
                  <a:lnTo>
                    <a:pt x="8636000" y="3409950"/>
                  </a:lnTo>
                  <a:lnTo>
                    <a:pt x="8559800" y="3346450"/>
                  </a:lnTo>
                  <a:lnTo>
                    <a:pt x="8489950" y="3346450"/>
                  </a:lnTo>
                  <a:lnTo>
                    <a:pt x="8343900" y="3492500"/>
                  </a:lnTo>
                  <a:lnTo>
                    <a:pt x="8331200" y="3543300"/>
                  </a:lnTo>
                  <a:lnTo>
                    <a:pt x="8394700" y="3632200"/>
                  </a:lnTo>
                  <a:lnTo>
                    <a:pt x="8394700" y="3816350"/>
                  </a:lnTo>
                  <a:lnTo>
                    <a:pt x="8572500" y="3987800"/>
                  </a:lnTo>
                  <a:lnTo>
                    <a:pt x="8572500" y="4032250"/>
                  </a:lnTo>
                  <a:lnTo>
                    <a:pt x="8432800" y="4178300"/>
                  </a:lnTo>
                  <a:lnTo>
                    <a:pt x="8426450" y="4337050"/>
                  </a:lnTo>
                  <a:lnTo>
                    <a:pt x="8502650" y="4425950"/>
                  </a:lnTo>
                  <a:lnTo>
                    <a:pt x="8509000" y="4476750"/>
                  </a:lnTo>
                  <a:lnTo>
                    <a:pt x="8458200" y="4502150"/>
                  </a:lnTo>
                  <a:lnTo>
                    <a:pt x="8426450" y="4495800"/>
                  </a:lnTo>
                  <a:lnTo>
                    <a:pt x="8356600" y="4413250"/>
                  </a:lnTo>
                  <a:lnTo>
                    <a:pt x="8197850" y="4413250"/>
                  </a:lnTo>
                  <a:lnTo>
                    <a:pt x="8185150" y="4406900"/>
                  </a:lnTo>
                  <a:lnTo>
                    <a:pt x="8083550" y="4298950"/>
                  </a:lnTo>
                  <a:lnTo>
                    <a:pt x="7670800" y="4298950"/>
                  </a:lnTo>
                  <a:lnTo>
                    <a:pt x="7645400" y="4305300"/>
                  </a:lnTo>
                  <a:lnTo>
                    <a:pt x="7537450" y="4419600"/>
                  </a:lnTo>
                  <a:lnTo>
                    <a:pt x="7270750" y="4419600"/>
                  </a:lnTo>
                  <a:lnTo>
                    <a:pt x="7219950" y="4438650"/>
                  </a:lnTo>
                  <a:lnTo>
                    <a:pt x="7156450" y="4508500"/>
                  </a:lnTo>
                  <a:lnTo>
                    <a:pt x="7086600" y="4508500"/>
                  </a:lnTo>
                  <a:lnTo>
                    <a:pt x="6978650" y="4406900"/>
                  </a:lnTo>
                  <a:lnTo>
                    <a:pt x="6769100" y="4406900"/>
                  </a:lnTo>
                  <a:lnTo>
                    <a:pt x="6629400" y="4470400"/>
                  </a:lnTo>
                  <a:lnTo>
                    <a:pt x="6629400" y="4584700"/>
                  </a:lnTo>
                  <a:lnTo>
                    <a:pt x="6642100" y="4616450"/>
                  </a:lnTo>
                  <a:lnTo>
                    <a:pt x="6692900" y="4667250"/>
                  </a:lnTo>
                  <a:lnTo>
                    <a:pt x="6642100" y="4724400"/>
                  </a:lnTo>
                  <a:lnTo>
                    <a:pt x="6591300" y="4711700"/>
                  </a:lnTo>
                  <a:lnTo>
                    <a:pt x="6489700" y="4591050"/>
                  </a:lnTo>
                  <a:lnTo>
                    <a:pt x="6083300" y="4591050"/>
                  </a:lnTo>
                  <a:lnTo>
                    <a:pt x="5930900" y="4737100"/>
                  </a:lnTo>
                  <a:lnTo>
                    <a:pt x="5924550" y="4876800"/>
                  </a:lnTo>
                  <a:lnTo>
                    <a:pt x="5892800" y="4902200"/>
                  </a:lnTo>
                  <a:lnTo>
                    <a:pt x="5829300" y="4902200"/>
                  </a:lnTo>
                  <a:lnTo>
                    <a:pt x="5448300" y="5257800"/>
                  </a:lnTo>
                  <a:lnTo>
                    <a:pt x="5448300" y="5346700"/>
                  </a:lnTo>
                  <a:lnTo>
                    <a:pt x="5530850" y="5429250"/>
                  </a:lnTo>
                  <a:lnTo>
                    <a:pt x="5486400" y="5480050"/>
                  </a:lnTo>
                  <a:lnTo>
                    <a:pt x="5429250" y="5480050"/>
                  </a:lnTo>
                  <a:lnTo>
                    <a:pt x="5289550" y="5340350"/>
                  </a:lnTo>
                  <a:lnTo>
                    <a:pt x="5175250" y="5340350"/>
                  </a:lnTo>
                  <a:lnTo>
                    <a:pt x="5130800" y="5314950"/>
                  </a:lnTo>
                  <a:lnTo>
                    <a:pt x="5092700" y="5270500"/>
                  </a:lnTo>
                  <a:lnTo>
                    <a:pt x="4972050" y="5270500"/>
                  </a:lnTo>
                  <a:lnTo>
                    <a:pt x="4762500" y="5086350"/>
                  </a:lnTo>
                  <a:lnTo>
                    <a:pt x="4762500" y="5029200"/>
                  </a:lnTo>
                  <a:lnTo>
                    <a:pt x="4737100" y="4991100"/>
                  </a:lnTo>
                  <a:lnTo>
                    <a:pt x="4673600" y="4991100"/>
                  </a:lnTo>
                  <a:lnTo>
                    <a:pt x="4629150" y="4959350"/>
                  </a:lnTo>
                  <a:lnTo>
                    <a:pt x="4635500" y="4578350"/>
                  </a:lnTo>
                  <a:lnTo>
                    <a:pt x="4616450" y="4527550"/>
                  </a:lnTo>
                  <a:lnTo>
                    <a:pt x="4425950" y="4330700"/>
                  </a:lnTo>
                  <a:lnTo>
                    <a:pt x="3594100" y="4330700"/>
                  </a:lnTo>
                  <a:lnTo>
                    <a:pt x="3206750" y="3930650"/>
                  </a:lnTo>
                  <a:lnTo>
                    <a:pt x="3213100" y="3536950"/>
                  </a:lnTo>
                  <a:lnTo>
                    <a:pt x="3117850" y="3467100"/>
                  </a:lnTo>
                  <a:lnTo>
                    <a:pt x="3073400" y="3390900"/>
                  </a:lnTo>
                  <a:lnTo>
                    <a:pt x="2863850" y="3403600"/>
                  </a:lnTo>
                  <a:lnTo>
                    <a:pt x="2813050" y="3346450"/>
                  </a:lnTo>
                  <a:lnTo>
                    <a:pt x="2768600" y="3346450"/>
                  </a:lnTo>
                  <a:lnTo>
                    <a:pt x="2495550" y="3619500"/>
                  </a:lnTo>
                  <a:lnTo>
                    <a:pt x="2095500" y="3619500"/>
                  </a:lnTo>
                  <a:lnTo>
                    <a:pt x="1885950" y="3829050"/>
                  </a:lnTo>
                  <a:lnTo>
                    <a:pt x="1885950" y="4648200"/>
                  </a:lnTo>
                  <a:lnTo>
                    <a:pt x="1708150" y="4845050"/>
                  </a:lnTo>
                  <a:lnTo>
                    <a:pt x="1657350" y="4845050"/>
                  </a:lnTo>
                  <a:lnTo>
                    <a:pt x="1333500" y="4514850"/>
                  </a:lnTo>
                  <a:lnTo>
                    <a:pt x="1073150" y="4514850"/>
                  </a:lnTo>
                  <a:lnTo>
                    <a:pt x="946150" y="4648200"/>
                  </a:lnTo>
                  <a:lnTo>
                    <a:pt x="901700" y="4654550"/>
                  </a:lnTo>
                  <a:lnTo>
                    <a:pt x="800100" y="4565650"/>
                  </a:lnTo>
                  <a:lnTo>
                    <a:pt x="800100" y="4502150"/>
                  </a:lnTo>
                  <a:lnTo>
                    <a:pt x="927100" y="4362450"/>
                  </a:lnTo>
                  <a:lnTo>
                    <a:pt x="939800" y="4311650"/>
                  </a:lnTo>
                  <a:lnTo>
                    <a:pt x="673100" y="4038600"/>
                  </a:lnTo>
                  <a:lnTo>
                    <a:pt x="679450" y="3683000"/>
                  </a:lnTo>
                  <a:lnTo>
                    <a:pt x="520700" y="3511550"/>
                  </a:lnTo>
                  <a:lnTo>
                    <a:pt x="514350" y="3460750"/>
                  </a:lnTo>
                  <a:lnTo>
                    <a:pt x="558800" y="3409950"/>
                  </a:lnTo>
                  <a:lnTo>
                    <a:pt x="609600" y="3409950"/>
                  </a:lnTo>
                  <a:lnTo>
                    <a:pt x="717550" y="3505200"/>
                  </a:lnTo>
                  <a:lnTo>
                    <a:pt x="749300" y="3505200"/>
                  </a:lnTo>
                  <a:lnTo>
                    <a:pt x="781050" y="3473450"/>
                  </a:lnTo>
                  <a:lnTo>
                    <a:pt x="781050" y="3327400"/>
                  </a:lnTo>
                  <a:lnTo>
                    <a:pt x="869950" y="3238500"/>
                  </a:lnTo>
                  <a:lnTo>
                    <a:pt x="1085850" y="3238500"/>
                  </a:lnTo>
                  <a:lnTo>
                    <a:pt x="1282700" y="3441700"/>
                  </a:lnTo>
                  <a:lnTo>
                    <a:pt x="1422400" y="3441700"/>
                  </a:lnTo>
                  <a:lnTo>
                    <a:pt x="1511300" y="3346450"/>
                  </a:lnTo>
                  <a:lnTo>
                    <a:pt x="1511300" y="3314700"/>
                  </a:lnTo>
                  <a:lnTo>
                    <a:pt x="1384300" y="3162300"/>
                  </a:lnTo>
                  <a:lnTo>
                    <a:pt x="1377950" y="3124200"/>
                  </a:lnTo>
                  <a:lnTo>
                    <a:pt x="1435100" y="3079750"/>
                  </a:lnTo>
                  <a:lnTo>
                    <a:pt x="1441450" y="2838450"/>
                  </a:lnTo>
                  <a:lnTo>
                    <a:pt x="1422400" y="2813050"/>
                  </a:lnTo>
                  <a:lnTo>
                    <a:pt x="1282700" y="2667000"/>
                  </a:lnTo>
                  <a:lnTo>
                    <a:pt x="1168400" y="2667000"/>
                  </a:lnTo>
                  <a:lnTo>
                    <a:pt x="1092200" y="2584450"/>
                  </a:lnTo>
                  <a:lnTo>
                    <a:pt x="857250" y="2584450"/>
                  </a:lnTo>
                  <a:lnTo>
                    <a:pt x="698500" y="2743200"/>
                  </a:lnTo>
                  <a:lnTo>
                    <a:pt x="425450" y="2743200"/>
                  </a:lnTo>
                  <a:lnTo>
                    <a:pt x="400050" y="2705100"/>
                  </a:lnTo>
                  <a:lnTo>
                    <a:pt x="336550" y="2705100"/>
                  </a:lnTo>
                  <a:lnTo>
                    <a:pt x="254000" y="2794000"/>
                  </a:lnTo>
                  <a:lnTo>
                    <a:pt x="273050" y="2578100"/>
                  </a:lnTo>
                  <a:close/>
                </a:path>
              </a:pathLst>
            </a:custGeom>
            <a:solidFill>
              <a:schemeClr val="bg1"/>
            </a:solidFill>
            <a:ln cap="rnd">
              <a:solidFill>
                <a:schemeClr val="accent5"/>
              </a:solidFill>
              <a:round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олилиния: фигура 61">
              <a:extLst>
                <a:ext uri="{FF2B5EF4-FFF2-40B4-BE49-F238E27FC236}">
                  <a16:creationId xmlns:a16="http://schemas.microsoft.com/office/drawing/2014/main" id="{EEA1DF14-454C-436D-AF0C-346FF7A0F7A5}"/>
                </a:ext>
              </a:extLst>
            </p:cNvPr>
            <p:cNvSpPr/>
            <p:nvPr/>
          </p:nvSpPr>
          <p:spPr>
            <a:xfrm>
              <a:off x="2451100" y="1149350"/>
              <a:ext cx="2978150" cy="4470400"/>
            </a:xfrm>
            <a:custGeom>
              <a:avLst/>
              <a:gdLst>
                <a:gd name="connsiteX0" fmla="*/ 0 w 2978150"/>
                <a:gd name="connsiteY0" fmla="*/ 0 h 4470400"/>
                <a:gd name="connsiteX1" fmla="*/ 171450 w 2978150"/>
                <a:gd name="connsiteY1" fmla="*/ 869950 h 4470400"/>
                <a:gd name="connsiteX2" fmla="*/ 336550 w 2978150"/>
                <a:gd name="connsiteY2" fmla="*/ 1155700 h 4470400"/>
                <a:gd name="connsiteX3" fmla="*/ 603250 w 2978150"/>
                <a:gd name="connsiteY3" fmla="*/ 1466850 h 4470400"/>
                <a:gd name="connsiteX4" fmla="*/ 1212850 w 2978150"/>
                <a:gd name="connsiteY4" fmla="*/ 2139950 h 4470400"/>
                <a:gd name="connsiteX5" fmla="*/ 1263650 w 2978150"/>
                <a:gd name="connsiteY5" fmla="*/ 2444750 h 4470400"/>
                <a:gd name="connsiteX6" fmla="*/ 1320800 w 2978150"/>
                <a:gd name="connsiteY6" fmla="*/ 2749550 h 4470400"/>
                <a:gd name="connsiteX7" fmla="*/ 1416050 w 2978150"/>
                <a:gd name="connsiteY7" fmla="*/ 3295650 h 4470400"/>
                <a:gd name="connsiteX8" fmla="*/ 1498600 w 2978150"/>
                <a:gd name="connsiteY8" fmla="*/ 3416300 h 4470400"/>
                <a:gd name="connsiteX9" fmla="*/ 1930400 w 2978150"/>
                <a:gd name="connsiteY9" fmla="*/ 3797300 h 4470400"/>
                <a:gd name="connsiteX10" fmla="*/ 2241550 w 2978150"/>
                <a:gd name="connsiteY10" fmla="*/ 3937000 h 4470400"/>
                <a:gd name="connsiteX11" fmla="*/ 2774950 w 2978150"/>
                <a:gd name="connsiteY11" fmla="*/ 4330700 h 4470400"/>
                <a:gd name="connsiteX12" fmla="*/ 2978150 w 2978150"/>
                <a:gd name="connsiteY12" fmla="*/ 4470400 h 447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78150" h="4470400">
                  <a:moveTo>
                    <a:pt x="0" y="0"/>
                  </a:moveTo>
                  <a:lnTo>
                    <a:pt x="171450" y="869950"/>
                  </a:lnTo>
                  <a:lnTo>
                    <a:pt x="336550" y="1155700"/>
                  </a:lnTo>
                  <a:lnTo>
                    <a:pt x="603250" y="1466850"/>
                  </a:lnTo>
                  <a:lnTo>
                    <a:pt x="1212850" y="2139950"/>
                  </a:lnTo>
                  <a:lnTo>
                    <a:pt x="1263650" y="2444750"/>
                  </a:lnTo>
                  <a:lnTo>
                    <a:pt x="1320800" y="2749550"/>
                  </a:lnTo>
                  <a:lnTo>
                    <a:pt x="1416050" y="3295650"/>
                  </a:lnTo>
                  <a:lnTo>
                    <a:pt x="1498600" y="3416300"/>
                  </a:lnTo>
                  <a:lnTo>
                    <a:pt x="1930400" y="3797300"/>
                  </a:lnTo>
                  <a:lnTo>
                    <a:pt x="2241550" y="3937000"/>
                  </a:lnTo>
                  <a:lnTo>
                    <a:pt x="2774950" y="4330700"/>
                  </a:lnTo>
                  <a:lnTo>
                    <a:pt x="2978150" y="447040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9" name="Полилиния: фигура 63">
              <a:extLst>
                <a:ext uri="{FF2B5EF4-FFF2-40B4-BE49-F238E27FC236}">
                  <a16:creationId xmlns:a16="http://schemas.microsoft.com/office/drawing/2014/main" id="{A3990BA3-D532-4086-A1D3-B7522C2DAC6F}"/>
                </a:ext>
              </a:extLst>
            </p:cNvPr>
            <p:cNvSpPr/>
            <p:nvPr/>
          </p:nvSpPr>
          <p:spPr>
            <a:xfrm>
              <a:off x="6524625" y="2222500"/>
              <a:ext cx="1901825" cy="1968500"/>
            </a:xfrm>
            <a:custGeom>
              <a:avLst/>
              <a:gdLst>
                <a:gd name="connsiteX0" fmla="*/ 1438275 w 1901825"/>
                <a:gd name="connsiteY0" fmla="*/ 0 h 1968500"/>
                <a:gd name="connsiteX1" fmla="*/ 1841500 w 1901825"/>
                <a:gd name="connsiteY1" fmla="*/ 212725 h 1968500"/>
                <a:gd name="connsiteX2" fmla="*/ 1901825 w 1901825"/>
                <a:gd name="connsiteY2" fmla="*/ 317500 h 1968500"/>
                <a:gd name="connsiteX3" fmla="*/ 1901825 w 1901825"/>
                <a:gd name="connsiteY3" fmla="*/ 434975 h 1968500"/>
                <a:gd name="connsiteX4" fmla="*/ 1755775 w 1901825"/>
                <a:gd name="connsiteY4" fmla="*/ 482600 h 1968500"/>
                <a:gd name="connsiteX5" fmla="*/ 1466850 w 1901825"/>
                <a:gd name="connsiteY5" fmla="*/ 781050 h 1968500"/>
                <a:gd name="connsiteX6" fmla="*/ 793750 w 1901825"/>
                <a:gd name="connsiteY6" fmla="*/ 1050925 h 1968500"/>
                <a:gd name="connsiteX7" fmla="*/ 387350 w 1901825"/>
                <a:gd name="connsiteY7" fmla="*/ 1365250 h 1968500"/>
                <a:gd name="connsiteX8" fmla="*/ 0 w 1901825"/>
                <a:gd name="connsiteY8" fmla="*/ 1968500 h 196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1825" h="1968500">
                  <a:moveTo>
                    <a:pt x="1438275" y="0"/>
                  </a:moveTo>
                  <a:lnTo>
                    <a:pt x="1841500" y="212725"/>
                  </a:lnTo>
                  <a:cubicBezTo>
                    <a:pt x="1861608" y="247650"/>
                    <a:pt x="1891771" y="280458"/>
                    <a:pt x="1901825" y="317500"/>
                  </a:cubicBezTo>
                  <a:lnTo>
                    <a:pt x="1901825" y="434975"/>
                  </a:lnTo>
                  <a:lnTo>
                    <a:pt x="1755775" y="482600"/>
                  </a:lnTo>
                  <a:lnTo>
                    <a:pt x="1466850" y="781050"/>
                  </a:lnTo>
                  <a:lnTo>
                    <a:pt x="793750" y="1050925"/>
                  </a:lnTo>
                  <a:lnTo>
                    <a:pt x="387350" y="1365250"/>
                  </a:lnTo>
                  <a:lnTo>
                    <a:pt x="0" y="196850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олилиния: фигура 64">
              <a:extLst>
                <a:ext uri="{FF2B5EF4-FFF2-40B4-BE49-F238E27FC236}">
                  <a16:creationId xmlns:a16="http://schemas.microsoft.com/office/drawing/2014/main" id="{B4BFB7FF-50F0-43F9-990A-21A0C97AAB2C}"/>
                </a:ext>
              </a:extLst>
            </p:cNvPr>
            <p:cNvSpPr/>
            <p:nvPr/>
          </p:nvSpPr>
          <p:spPr>
            <a:xfrm>
              <a:off x="5753100" y="4191000"/>
              <a:ext cx="5829300" cy="2481263"/>
            </a:xfrm>
            <a:custGeom>
              <a:avLst/>
              <a:gdLst>
                <a:gd name="connsiteX0" fmla="*/ 0 w 5829300"/>
                <a:gd name="connsiteY0" fmla="*/ 2481263 h 2481263"/>
                <a:gd name="connsiteX1" fmla="*/ 990600 w 5829300"/>
                <a:gd name="connsiteY1" fmla="*/ 1666875 h 2481263"/>
                <a:gd name="connsiteX2" fmla="*/ 1323975 w 5829300"/>
                <a:gd name="connsiteY2" fmla="*/ 1600200 h 2481263"/>
                <a:gd name="connsiteX3" fmla="*/ 1781175 w 5829300"/>
                <a:gd name="connsiteY3" fmla="*/ 1366838 h 2481263"/>
                <a:gd name="connsiteX4" fmla="*/ 2105025 w 5829300"/>
                <a:gd name="connsiteY4" fmla="*/ 1052513 h 2481263"/>
                <a:gd name="connsiteX5" fmla="*/ 2443163 w 5829300"/>
                <a:gd name="connsiteY5" fmla="*/ 985838 h 2481263"/>
                <a:gd name="connsiteX6" fmla="*/ 2833688 w 5829300"/>
                <a:gd name="connsiteY6" fmla="*/ 881063 h 2481263"/>
                <a:gd name="connsiteX7" fmla="*/ 2943225 w 5829300"/>
                <a:gd name="connsiteY7" fmla="*/ 757238 h 2481263"/>
                <a:gd name="connsiteX8" fmla="*/ 3048000 w 5829300"/>
                <a:gd name="connsiteY8" fmla="*/ 738188 h 2481263"/>
                <a:gd name="connsiteX9" fmla="*/ 3052763 w 5829300"/>
                <a:gd name="connsiteY9" fmla="*/ 661988 h 2481263"/>
                <a:gd name="connsiteX10" fmla="*/ 3152775 w 5829300"/>
                <a:gd name="connsiteY10" fmla="*/ 514350 h 2481263"/>
                <a:gd name="connsiteX11" fmla="*/ 3252788 w 5829300"/>
                <a:gd name="connsiteY11" fmla="*/ 542925 h 2481263"/>
                <a:gd name="connsiteX12" fmla="*/ 3424238 w 5829300"/>
                <a:gd name="connsiteY12" fmla="*/ 623888 h 2481263"/>
                <a:gd name="connsiteX13" fmla="*/ 3695700 w 5829300"/>
                <a:gd name="connsiteY13" fmla="*/ 604838 h 2481263"/>
                <a:gd name="connsiteX14" fmla="*/ 3948113 w 5829300"/>
                <a:gd name="connsiteY14" fmla="*/ 509588 h 2481263"/>
                <a:gd name="connsiteX15" fmla="*/ 4191000 w 5829300"/>
                <a:gd name="connsiteY15" fmla="*/ 476250 h 2481263"/>
                <a:gd name="connsiteX16" fmla="*/ 4448175 w 5829300"/>
                <a:gd name="connsiteY16" fmla="*/ 400050 h 2481263"/>
                <a:gd name="connsiteX17" fmla="*/ 4810125 w 5829300"/>
                <a:gd name="connsiteY17" fmla="*/ 338138 h 2481263"/>
                <a:gd name="connsiteX18" fmla="*/ 5829300 w 5829300"/>
                <a:gd name="connsiteY18" fmla="*/ 0 h 2481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29300" h="2481263">
                  <a:moveTo>
                    <a:pt x="0" y="2481263"/>
                  </a:moveTo>
                  <a:lnTo>
                    <a:pt x="990600" y="1666875"/>
                  </a:lnTo>
                  <a:lnTo>
                    <a:pt x="1323975" y="1600200"/>
                  </a:lnTo>
                  <a:lnTo>
                    <a:pt x="1781175" y="1366838"/>
                  </a:lnTo>
                  <a:lnTo>
                    <a:pt x="2105025" y="1052513"/>
                  </a:lnTo>
                  <a:lnTo>
                    <a:pt x="2443163" y="985838"/>
                  </a:lnTo>
                  <a:lnTo>
                    <a:pt x="2833688" y="881063"/>
                  </a:lnTo>
                  <a:lnTo>
                    <a:pt x="2943225" y="757238"/>
                  </a:lnTo>
                  <a:lnTo>
                    <a:pt x="3048000" y="738188"/>
                  </a:lnTo>
                  <a:lnTo>
                    <a:pt x="3052763" y="661988"/>
                  </a:lnTo>
                  <a:lnTo>
                    <a:pt x="3152775" y="514350"/>
                  </a:lnTo>
                  <a:lnTo>
                    <a:pt x="3252788" y="542925"/>
                  </a:lnTo>
                  <a:lnTo>
                    <a:pt x="3424238" y="623888"/>
                  </a:lnTo>
                  <a:lnTo>
                    <a:pt x="3695700" y="604838"/>
                  </a:lnTo>
                  <a:lnTo>
                    <a:pt x="3948113" y="509588"/>
                  </a:lnTo>
                  <a:lnTo>
                    <a:pt x="4191000" y="476250"/>
                  </a:lnTo>
                  <a:lnTo>
                    <a:pt x="4448175" y="400050"/>
                  </a:lnTo>
                  <a:lnTo>
                    <a:pt x="4810125" y="338138"/>
                  </a:lnTo>
                  <a:lnTo>
                    <a:pt x="5829300" y="0"/>
                  </a:lnTo>
                </a:path>
              </a:pathLst>
            </a:custGeom>
            <a:noFill/>
            <a:ln w="12700" cap="rnd">
              <a:solidFill>
                <a:schemeClr val="bg1">
                  <a:lumMod val="6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олилиния: фигура 65">
              <a:extLst>
                <a:ext uri="{FF2B5EF4-FFF2-40B4-BE49-F238E27FC236}">
                  <a16:creationId xmlns:a16="http://schemas.microsoft.com/office/drawing/2014/main" id="{FC20E130-AE19-4C94-9F8D-45930A5BD11C}"/>
                </a:ext>
              </a:extLst>
            </p:cNvPr>
            <p:cNvSpPr/>
            <p:nvPr/>
          </p:nvSpPr>
          <p:spPr>
            <a:xfrm>
              <a:off x="7281863" y="4910138"/>
              <a:ext cx="2876550" cy="1409700"/>
            </a:xfrm>
            <a:custGeom>
              <a:avLst/>
              <a:gdLst>
                <a:gd name="connsiteX0" fmla="*/ 0 w 2876550"/>
                <a:gd name="connsiteY0" fmla="*/ 1409700 h 1409700"/>
                <a:gd name="connsiteX1" fmla="*/ 142875 w 2876550"/>
                <a:gd name="connsiteY1" fmla="*/ 1100137 h 1409700"/>
                <a:gd name="connsiteX2" fmla="*/ 371475 w 2876550"/>
                <a:gd name="connsiteY2" fmla="*/ 819150 h 1409700"/>
                <a:gd name="connsiteX3" fmla="*/ 652462 w 2876550"/>
                <a:gd name="connsiteY3" fmla="*/ 590550 h 1409700"/>
                <a:gd name="connsiteX4" fmla="*/ 900112 w 2876550"/>
                <a:gd name="connsiteY4" fmla="*/ 347662 h 1409700"/>
                <a:gd name="connsiteX5" fmla="*/ 1347787 w 2876550"/>
                <a:gd name="connsiteY5" fmla="*/ 361950 h 1409700"/>
                <a:gd name="connsiteX6" fmla="*/ 1719262 w 2876550"/>
                <a:gd name="connsiteY6" fmla="*/ 152400 h 1409700"/>
                <a:gd name="connsiteX7" fmla="*/ 1857375 w 2876550"/>
                <a:gd name="connsiteY7" fmla="*/ 171450 h 1409700"/>
                <a:gd name="connsiteX8" fmla="*/ 2028825 w 2876550"/>
                <a:gd name="connsiteY8" fmla="*/ 47625 h 1409700"/>
                <a:gd name="connsiteX9" fmla="*/ 2471737 w 2876550"/>
                <a:gd name="connsiteY9" fmla="*/ 0 h 1409700"/>
                <a:gd name="connsiteX10" fmla="*/ 2609850 w 2876550"/>
                <a:gd name="connsiteY10" fmla="*/ 71437 h 1409700"/>
                <a:gd name="connsiteX11" fmla="*/ 2876550 w 2876550"/>
                <a:gd name="connsiteY11" fmla="*/ 0 h 140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76550" h="1409700">
                  <a:moveTo>
                    <a:pt x="0" y="1409700"/>
                  </a:moveTo>
                  <a:lnTo>
                    <a:pt x="142875" y="1100137"/>
                  </a:lnTo>
                  <a:lnTo>
                    <a:pt x="371475" y="819150"/>
                  </a:lnTo>
                  <a:lnTo>
                    <a:pt x="652462" y="590550"/>
                  </a:lnTo>
                  <a:lnTo>
                    <a:pt x="900112" y="347662"/>
                  </a:lnTo>
                  <a:lnTo>
                    <a:pt x="1347787" y="361950"/>
                  </a:lnTo>
                  <a:lnTo>
                    <a:pt x="1719262" y="152400"/>
                  </a:lnTo>
                  <a:lnTo>
                    <a:pt x="1857375" y="171450"/>
                  </a:lnTo>
                  <a:lnTo>
                    <a:pt x="2028825" y="47625"/>
                  </a:lnTo>
                  <a:lnTo>
                    <a:pt x="2471737" y="0"/>
                  </a:lnTo>
                  <a:lnTo>
                    <a:pt x="2609850" y="71437"/>
                  </a:lnTo>
                  <a:lnTo>
                    <a:pt x="2876550" y="0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олилиния: фигура 68">
              <a:extLst>
                <a:ext uri="{FF2B5EF4-FFF2-40B4-BE49-F238E27FC236}">
                  <a16:creationId xmlns:a16="http://schemas.microsoft.com/office/drawing/2014/main" id="{42350A2F-564F-4DE8-A9FA-DD303CC52DA4}"/>
                </a:ext>
              </a:extLst>
            </p:cNvPr>
            <p:cNvSpPr/>
            <p:nvPr/>
          </p:nvSpPr>
          <p:spPr>
            <a:xfrm>
              <a:off x="3876675" y="3787775"/>
              <a:ext cx="4032250" cy="1711325"/>
            </a:xfrm>
            <a:custGeom>
              <a:avLst/>
              <a:gdLst>
                <a:gd name="connsiteX0" fmla="*/ 0 w 4032250"/>
                <a:gd name="connsiteY0" fmla="*/ 644525 h 1711325"/>
                <a:gd name="connsiteX1" fmla="*/ 139700 w 4032250"/>
                <a:gd name="connsiteY1" fmla="*/ 508000 h 1711325"/>
                <a:gd name="connsiteX2" fmla="*/ 809625 w 4032250"/>
                <a:gd name="connsiteY2" fmla="*/ 349250 h 1711325"/>
                <a:gd name="connsiteX3" fmla="*/ 1066800 w 4032250"/>
                <a:gd name="connsiteY3" fmla="*/ 200025 h 1711325"/>
                <a:gd name="connsiteX4" fmla="*/ 1273175 w 4032250"/>
                <a:gd name="connsiteY4" fmla="*/ 0 h 1711325"/>
                <a:gd name="connsiteX5" fmla="*/ 1736725 w 4032250"/>
                <a:gd name="connsiteY5" fmla="*/ 15875 h 1711325"/>
                <a:gd name="connsiteX6" fmla="*/ 1866900 w 4032250"/>
                <a:gd name="connsiteY6" fmla="*/ 346075 h 1711325"/>
                <a:gd name="connsiteX7" fmla="*/ 2200275 w 4032250"/>
                <a:gd name="connsiteY7" fmla="*/ 349250 h 1711325"/>
                <a:gd name="connsiteX8" fmla="*/ 2286000 w 4032250"/>
                <a:gd name="connsiteY8" fmla="*/ 276225 h 1711325"/>
                <a:gd name="connsiteX9" fmla="*/ 2647950 w 4032250"/>
                <a:gd name="connsiteY9" fmla="*/ 406400 h 1711325"/>
                <a:gd name="connsiteX10" fmla="*/ 4032250 w 4032250"/>
                <a:gd name="connsiteY10" fmla="*/ 1711325 h 1711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032250" h="1711325">
                  <a:moveTo>
                    <a:pt x="0" y="644525"/>
                  </a:moveTo>
                  <a:lnTo>
                    <a:pt x="139700" y="508000"/>
                  </a:lnTo>
                  <a:lnTo>
                    <a:pt x="809625" y="349250"/>
                  </a:lnTo>
                  <a:lnTo>
                    <a:pt x="1066800" y="200025"/>
                  </a:lnTo>
                  <a:lnTo>
                    <a:pt x="1273175" y="0"/>
                  </a:lnTo>
                  <a:lnTo>
                    <a:pt x="1736725" y="15875"/>
                  </a:lnTo>
                  <a:lnTo>
                    <a:pt x="1866900" y="346075"/>
                  </a:lnTo>
                  <a:lnTo>
                    <a:pt x="2200275" y="349250"/>
                  </a:lnTo>
                  <a:lnTo>
                    <a:pt x="2286000" y="276225"/>
                  </a:lnTo>
                  <a:lnTo>
                    <a:pt x="2647950" y="406400"/>
                  </a:lnTo>
                  <a:lnTo>
                    <a:pt x="4032250" y="1711325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олилиния: фигура 76">
              <a:extLst>
                <a:ext uri="{FF2B5EF4-FFF2-40B4-BE49-F238E27FC236}">
                  <a16:creationId xmlns:a16="http://schemas.microsoft.com/office/drawing/2014/main" id="{77EC4C78-1CB8-43DD-B267-3C28F307E56E}"/>
                </a:ext>
              </a:extLst>
            </p:cNvPr>
            <p:cNvSpPr/>
            <p:nvPr/>
          </p:nvSpPr>
          <p:spPr>
            <a:xfrm>
              <a:off x="3873500" y="3695700"/>
              <a:ext cx="4067175" cy="1778000"/>
            </a:xfrm>
            <a:custGeom>
              <a:avLst/>
              <a:gdLst>
                <a:gd name="connsiteX0" fmla="*/ 0 w 4067175"/>
                <a:gd name="connsiteY0" fmla="*/ 714375 h 1778000"/>
                <a:gd name="connsiteX1" fmla="*/ 104775 w 4067175"/>
                <a:gd name="connsiteY1" fmla="*/ 517525 h 1778000"/>
                <a:gd name="connsiteX2" fmla="*/ 723900 w 4067175"/>
                <a:gd name="connsiteY2" fmla="*/ 384175 h 1778000"/>
                <a:gd name="connsiteX3" fmla="*/ 1022350 w 4067175"/>
                <a:gd name="connsiteY3" fmla="*/ 219075 h 1778000"/>
                <a:gd name="connsiteX4" fmla="*/ 1231900 w 4067175"/>
                <a:gd name="connsiteY4" fmla="*/ 0 h 1778000"/>
                <a:gd name="connsiteX5" fmla="*/ 1562100 w 4067175"/>
                <a:gd name="connsiteY5" fmla="*/ 6350 h 1778000"/>
                <a:gd name="connsiteX6" fmla="*/ 1778000 w 4067175"/>
                <a:gd name="connsiteY6" fmla="*/ 19050 h 1778000"/>
                <a:gd name="connsiteX7" fmla="*/ 1914525 w 4067175"/>
                <a:gd name="connsiteY7" fmla="*/ 374650 h 1778000"/>
                <a:gd name="connsiteX8" fmla="*/ 2190750 w 4067175"/>
                <a:gd name="connsiteY8" fmla="*/ 377825 h 1778000"/>
                <a:gd name="connsiteX9" fmla="*/ 2286000 w 4067175"/>
                <a:gd name="connsiteY9" fmla="*/ 292100 h 1778000"/>
                <a:gd name="connsiteX10" fmla="*/ 2698750 w 4067175"/>
                <a:gd name="connsiteY10" fmla="*/ 434975 h 1778000"/>
                <a:gd name="connsiteX11" fmla="*/ 4067175 w 4067175"/>
                <a:gd name="connsiteY11" fmla="*/ 1778000 h 177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67175" h="1778000">
                  <a:moveTo>
                    <a:pt x="0" y="714375"/>
                  </a:moveTo>
                  <a:lnTo>
                    <a:pt x="104775" y="517525"/>
                  </a:lnTo>
                  <a:lnTo>
                    <a:pt x="723900" y="384175"/>
                  </a:lnTo>
                  <a:lnTo>
                    <a:pt x="1022350" y="219075"/>
                  </a:lnTo>
                  <a:lnTo>
                    <a:pt x="1231900" y="0"/>
                  </a:lnTo>
                  <a:lnTo>
                    <a:pt x="1562100" y="6350"/>
                  </a:lnTo>
                  <a:lnTo>
                    <a:pt x="1778000" y="19050"/>
                  </a:lnTo>
                  <a:lnTo>
                    <a:pt x="1914525" y="374650"/>
                  </a:lnTo>
                  <a:lnTo>
                    <a:pt x="2190750" y="377825"/>
                  </a:lnTo>
                  <a:lnTo>
                    <a:pt x="2286000" y="292100"/>
                  </a:lnTo>
                  <a:lnTo>
                    <a:pt x="2698750" y="434975"/>
                  </a:lnTo>
                  <a:lnTo>
                    <a:pt x="4067175" y="1778000"/>
                  </a:ln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ysDash"/>
              <a:round/>
            </a:ln>
            <a:effectLst>
              <a:glow rad="63500">
                <a:schemeClr val="accent2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олилиния: фигура 77">
              <a:extLst>
                <a:ext uri="{FF2B5EF4-FFF2-40B4-BE49-F238E27FC236}">
                  <a16:creationId xmlns:a16="http://schemas.microsoft.com/office/drawing/2014/main" id="{BC636741-0329-45B1-B5B2-330279DBB139}"/>
                </a:ext>
              </a:extLst>
            </p:cNvPr>
            <p:cNvSpPr/>
            <p:nvPr/>
          </p:nvSpPr>
          <p:spPr>
            <a:xfrm>
              <a:off x="2938463" y="4448175"/>
              <a:ext cx="909637" cy="2462213"/>
            </a:xfrm>
            <a:custGeom>
              <a:avLst/>
              <a:gdLst>
                <a:gd name="connsiteX0" fmla="*/ 909637 w 909637"/>
                <a:gd name="connsiteY0" fmla="*/ 0 h 2462213"/>
                <a:gd name="connsiteX1" fmla="*/ 242887 w 909637"/>
                <a:gd name="connsiteY1" fmla="*/ 33338 h 2462213"/>
                <a:gd name="connsiteX2" fmla="*/ 114300 w 909637"/>
                <a:gd name="connsiteY2" fmla="*/ 171450 h 2462213"/>
                <a:gd name="connsiteX3" fmla="*/ 76200 w 909637"/>
                <a:gd name="connsiteY3" fmla="*/ 438150 h 2462213"/>
                <a:gd name="connsiteX4" fmla="*/ 152400 w 909637"/>
                <a:gd name="connsiteY4" fmla="*/ 700088 h 2462213"/>
                <a:gd name="connsiteX5" fmla="*/ 71437 w 909637"/>
                <a:gd name="connsiteY5" fmla="*/ 814388 h 2462213"/>
                <a:gd name="connsiteX6" fmla="*/ 0 w 909637"/>
                <a:gd name="connsiteY6" fmla="*/ 1028700 h 2462213"/>
                <a:gd name="connsiteX7" fmla="*/ 204787 w 909637"/>
                <a:gd name="connsiteY7" fmla="*/ 1323975 h 2462213"/>
                <a:gd name="connsiteX8" fmla="*/ 295275 w 909637"/>
                <a:gd name="connsiteY8" fmla="*/ 1738313 h 2462213"/>
                <a:gd name="connsiteX9" fmla="*/ 452437 w 909637"/>
                <a:gd name="connsiteY9" fmla="*/ 1947863 h 2462213"/>
                <a:gd name="connsiteX10" fmla="*/ 361950 w 909637"/>
                <a:gd name="connsiteY10" fmla="*/ 2462213 h 2462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09637" h="2462213">
                  <a:moveTo>
                    <a:pt x="909637" y="0"/>
                  </a:moveTo>
                  <a:lnTo>
                    <a:pt x="242887" y="33338"/>
                  </a:lnTo>
                  <a:lnTo>
                    <a:pt x="114300" y="171450"/>
                  </a:lnTo>
                  <a:lnTo>
                    <a:pt x="76200" y="438150"/>
                  </a:lnTo>
                  <a:lnTo>
                    <a:pt x="152400" y="700088"/>
                  </a:lnTo>
                  <a:lnTo>
                    <a:pt x="71437" y="814388"/>
                  </a:lnTo>
                  <a:lnTo>
                    <a:pt x="0" y="1028700"/>
                  </a:lnTo>
                  <a:lnTo>
                    <a:pt x="204787" y="1323975"/>
                  </a:lnTo>
                  <a:lnTo>
                    <a:pt x="295275" y="1738313"/>
                  </a:lnTo>
                  <a:lnTo>
                    <a:pt x="452437" y="1947863"/>
                  </a:lnTo>
                  <a:lnTo>
                    <a:pt x="361950" y="2462213"/>
                  </a:lnTo>
                </a:path>
              </a:pathLst>
            </a:custGeom>
            <a:noFill/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6" name="TextBox 25"/>
          <p:cNvSpPr txBox="1"/>
          <p:nvPr/>
        </p:nvSpPr>
        <p:spPr bwMode="gray">
          <a:xfrm>
            <a:off x="4301986" y="4084396"/>
            <a:ext cx="597600" cy="1135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738" dirty="0">
              <a:solidFill>
                <a:srgbClr val="53565A"/>
              </a:solidFill>
              <a:latin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90913" y="498550"/>
            <a:ext cx="28155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>
              <a:buClrTx/>
              <a:defRPr/>
            </a:pPr>
            <a:r>
              <a:rPr lang="ru-RU" sz="1800" b="1" kern="1200" dirty="0">
                <a:solidFill>
                  <a:srgbClr val="082C50"/>
                </a:solidFill>
                <a:sym typeface="Roboto Condensed Light"/>
              </a:rPr>
              <a:t>Спасибо за внимание !</a:t>
            </a:r>
            <a:endParaRPr lang="ru-RU" sz="1800" kern="1200" dirty="0">
              <a:latin typeface="Segoe UI Light"/>
              <a:ea typeface="+mn-ea"/>
              <a:cs typeface="+mn-cs"/>
            </a:endParaRPr>
          </a:p>
        </p:txBody>
      </p:sp>
      <p:pic>
        <p:nvPicPr>
          <p:cNvPr id="6" name="Рисунок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613" y="2458209"/>
            <a:ext cx="1407985" cy="456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62185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9">
            <a:extLst>
              <a:ext uri="{FF2B5EF4-FFF2-40B4-BE49-F238E27FC236}">
                <a16:creationId xmlns:a16="http://schemas.microsoft.com/office/drawing/2014/main" id="{9FD13060-6157-463F-A886-40090B0E329D}"/>
              </a:ext>
            </a:extLst>
          </p:cNvPr>
          <p:cNvSpPr/>
          <p:nvPr/>
        </p:nvSpPr>
        <p:spPr>
          <a:xfrm>
            <a:off x="233362" y="600076"/>
            <a:ext cx="8648701" cy="4336508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 w="381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 dirty="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 dirty="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 dirty="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0" y="101601"/>
            <a:ext cx="3867150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1"/>
            <a:ext cx="36502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sym typeface="Ubuntu"/>
              </a:rPr>
              <a:t>ОБЩАЯ ИНФОРМАЦИЯ О ПРОЕК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3924303" y="101607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975103" y="106398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2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6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Объект 2"/>
          <p:cNvSpPr txBox="1">
            <a:spLocks/>
          </p:cNvSpPr>
          <p:nvPr/>
        </p:nvSpPr>
        <p:spPr>
          <a:xfrm>
            <a:off x="386746" y="835209"/>
            <a:ext cx="8286563" cy="3996444"/>
          </a:xfrm>
          <a:prstGeom prst="rect">
            <a:avLst/>
          </a:prstGeom>
        </p:spPr>
        <p:txBody>
          <a:bodyPr>
            <a:noAutofit/>
          </a:bodyPr>
          <a:lstStyle>
            <a:lvl1pPr marL="171446" indent="-171446" algn="l" defTabSz="685783" rtl="0" eaLnBrk="1" latinLnBrk="0" hangingPunct="1">
              <a:lnSpc>
                <a:spcPct val="90000"/>
              </a:lnSpc>
              <a:spcBef>
                <a:spcPts val="751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3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29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21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12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4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проекта: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природным газом южных регионов РК, экспортные поставки газа в Китай, обеспечение энергетической безопасности РК.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endParaRPr lang="ru-RU" sz="1400" b="1" u="sng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 проекта:</a:t>
            </a:r>
          </a:p>
          <a:p>
            <a:pPr marL="413147" indent="-214313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Wingdings" panose="05000000000000000000" pitchFamily="2" charset="2"/>
              <a:buChar char="q"/>
            </a:pP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августа 2007 года подписано Соглашение между Правительством РК и Китайской Народной Республики о сотрудничестве в строительстве и эксплуатации газопровода Казахстан-Китай,</a:t>
            </a:r>
          </a:p>
          <a:p>
            <a:pPr marL="413147" indent="-214313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Wingdings" panose="05000000000000000000" pitchFamily="2" charset="2"/>
              <a:buChar char="q"/>
            </a:pPr>
            <a:r>
              <a:rPr kumimoji="1"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января 2011 года</a:t>
            </a: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О «НК «</a:t>
            </a:r>
            <a:r>
              <a:rPr kumimoji="1" 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kumimoji="1" 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kumimoji="1" lang="ru-RU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КазТрансГаз») </a:t>
            </a: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0%) и Trans-Asia Gas Pipeline Co Ltd (50%)</a:t>
            </a:r>
            <a:r>
              <a:rPr kumimoji="1" lang="en-US" alt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о ТОО «Газопровод Бейнеу-Шымкент» (далее – </a:t>
            </a:r>
            <a:r>
              <a:rPr kumimoji="1"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ищество)</a:t>
            </a:r>
            <a:r>
              <a:rPr kumimoji="1" lang="ru-RU" alt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None/>
            </a:pPr>
            <a:r>
              <a:rPr lang="ru-RU" sz="14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ители: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None/>
              <a:tabLst>
                <a:tab pos="268288" algn="l"/>
              </a:tabLst>
            </a:pP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АО </a:t>
            </a:r>
            <a:r>
              <a:rPr kumimoji="1"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К «</a:t>
            </a:r>
            <a:r>
              <a:rPr kumimoji="1" lang="en-US" sz="14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aqGaz</a:t>
            </a:r>
            <a:r>
              <a:rPr kumimoji="1" lang="ru-RU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единственный потребитель услуг Товарищества</a:t>
            </a:r>
            <a:endParaRPr kumimoji="1" lang="ru-RU" altLang="ru-RU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сурсная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аза проекта: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адная и Актюбинская группы месторождений.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сто реализации проекта:</a:t>
            </a:r>
          </a:p>
          <a:p>
            <a:pPr marL="0" indent="0" algn="just" eaLnBrk="0" hangingPunct="0">
              <a:spcBef>
                <a:spcPts val="0"/>
              </a:spcBef>
              <a:spcAft>
                <a:spcPts val="450"/>
              </a:spcAft>
              <a:buClrTx/>
              <a:buFont typeface="Arial" panose="020B0604020202020204" pitchFamily="34" charset="0"/>
              <a:buNone/>
            </a:pPr>
            <a:r>
              <a:rPr lang="ru-RU" sz="1400" dirty="0" smtClean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гистауская, Актюбинская, Кызылординская и Туркестанская области.</a:t>
            </a:r>
            <a:endParaRPr kumimoji="1" lang="en-US" altLang="ru-RU" sz="12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2" descr="Beineu Shymkent — Beineu Shymken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015" y="4234505"/>
            <a:ext cx="1059010" cy="503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457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 dirty="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 dirty="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 dirty="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4335521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4047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ТЕХНИЧЕСКИЕ ХАРАКТЕРИСТИКИ МГ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4381239" y="96810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432039" y="101601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3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3" name="Freeform 6"/>
          <p:cNvSpPr>
            <a:spLocks noEditPoints="1"/>
          </p:cNvSpPr>
          <p:nvPr/>
        </p:nvSpPr>
        <p:spPr bwMode="auto">
          <a:xfrm>
            <a:off x="125917" y="609606"/>
            <a:ext cx="5901163" cy="3476972"/>
          </a:xfrm>
          <a:custGeom>
            <a:avLst/>
            <a:gdLst>
              <a:gd name="T0" fmla="*/ 282 w 21431"/>
              <a:gd name="T1" fmla="*/ 0 h 21431"/>
              <a:gd name="T2" fmla="*/ 21149 w 21431"/>
              <a:gd name="T3" fmla="*/ 0 h 21431"/>
              <a:gd name="T4" fmla="*/ 21431 w 21431"/>
              <a:gd name="T5" fmla="*/ 0 h 21431"/>
              <a:gd name="T6" fmla="*/ 21431 w 21431"/>
              <a:gd name="T7" fmla="*/ 282 h 21431"/>
              <a:gd name="T8" fmla="*/ 21431 w 21431"/>
              <a:gd name="T9" fmla="*/ 21149 h 21431"/>
              <a:gd name="T10" fmla="*/ 21431 w 21431"/>
              <a:gd name="T11" fmla="*/ 21431 h 21431"/>
              <a:gd name="T12" fmla="*/ 21149 w 21431"/>
              <a:gd name="T13" fmla="*/ 21431 h 21431"/>
              <a:gd name="T14" fmla="*/ 282 w 21431"/>
              <a:gd name="T15" fmla="*/ 21431 h 21431"/>
              <a:gd name="T16" fmla="*/ 0 w 21431"/>
              <a:gd name="T17" fmla="*/ 21431 h 21431"/>
              <a:gd name="T18" fmla="*/ 0 w 21431"/>
              <a:gd name="T19" fmla="*/ 21149 h 21431"/>
              <a:gd name="T20" fmla="*/ 0 w 21431"/>
              <a:gd name="T21" fmla="*/ 282 h 21431"/>
              <a:gd name="T22" fmla="*/ 0 w 21431"/>
              <a:gd name="T23" fmla="*/ 0 h 21431"/>
              <a:gd name="T24" fmla="*/ 282 w 21431"/>
              <a:gd name="T25" fmla="*/ 0 h 21431"/>
              <a:gd name="T26" fmla="*/ 20867 w 21431"/>
              <a:gd name="T27" fmla="*/ 565 h 21431"/>
              <a:gd name="T28" fmla="*/ 565 w 21431"/>
              <a:gd name="T29" fmla="*/ 565 h 21431"/>
              <a:gd name="T30" fmla="*/ 565 w 21431"/>
              <a:gd name="T31" fmla="*/ 20867 h 21431"/>
              <a:gd name="T32" fmla="*/ 20867 w 21431"/>
              <a:gd name="T33" fmla="*/ 20867 h 21431"/>
              <a:gd name="T34" fmla="*/ 20867 w 21431"/>
              <a:gd name="T35" fmla="*/ 565 h 214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1431" h="21431">
                <a:moveTo>
                  <a:pt x="282" y="0"/>
                </a:moveTo>
                <a:lnTo>
                  <a:pt x="21149" y="0"/>
                </a:lnTo>
                <a:lnTo>
                  <a:pt x="21431" y="0"/>
                </a:lnTo>
                <a:lnTo>
                  <a:pt x="21431" y="282"/>
                </a:lnTo>
                <a:lnTo>
                  <a:pt x="21431" y="21149"/>
                </a:lnTo>
                <a:lnTo>
                  <a:pt x="21431" y="21431"/>
                </a:lnTo>
                <a:lnTo>
                  <a:pt x="21149" y="21431"/>
                </a:lnTo>
                <a:lnTo>
                  <a:pt x="282" y="21431"/>
                </a:lnTo>
                <a:lnTo>
                  <a:pt x="0" y="21431"/>
                </a:lnTo>
                <a:lnTo>
                  <a:pt x="0" y="21149"/>
                </a:lnTo>
                <a:lnTo>
                  <a:pt x="0" y="282"/>
                </a:lnTo>
                <a:lnTo>
                  <a:pt x="0" y="0"/>
                </a:lnTo>
                <a:lnTo>
                  <a:pt x="282" y="0"/>
                </a:lnTo>
                <a:close/>
                <a:moveTo>
                  <a:pt x="20867" y="565"/>
                </a:moveTo>
                <a:lnTo>
                  <a:pt x="565" y="565"/>
                </a:lnTo>
                <a:lnTo>
                  <a:pt x="565" y="20867"/>
                </a:lnTo>
                <a:lnTo>
                  <a:pt x="20867" y="20867"/>
                </a:lnTo>
                <a:lnTo>
                  <a:pt x="20867" y="565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>
              <a:buClrTx/>
              <a:buFontTx/>
              <a:buNone/>
            </a:pPr>
            <a:endParaRPr lang="en-US" sz="1800" kern="1200" dirty="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93" name="Content Placeholder 3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3651" b="86717" l="10000" r="90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15" t="33374" r="16881" b="14347"/>
          <a:stretch/>
        </p:blipFill>
        <p:spPr>
          <a:xfrm>
            <a:off x="204933" y="670816"/>
            <a:ext cx="5774448" cy="3371912"/>
          </a:xfrm>
          <a:prstGeom prst="rect">
            <a:avLst/>
          </a:prstGeom>
          <a:solidFill>
            <a:srgbClr val="5B9BD5"/>
          </a:solidFill>
        </p:spPr>
      </p:pic>
      <p:sp>
        <p:nvSpPr>
          <p:cNvPr id="3" name="TextBox 2"/>
          <p:cNvSpPr txBox="1"/>
          <p:nvPr/>
        </p:nvSpPr>
        <p:spPr>
          <a:xfrm>
            <a:off x="3745079" y="1422991"/>
            <a:ext cx="615207" cy="184666"/>
          </a:xfrm>
          <a:prstGeom prst="rect">
            <a:avLst/>
          </a:prstGeom>
          <a:solidFill>
            <a:srgbClr val="F0F6FE"/>
          </a:solidFill>
        </p:spPr>
        <p:txBody>
          <a:bodyPr wrap="square" rtlCol="0">
            <a:spAutoFit/>
          </a:bodyPr>
          <a:lstStyle/>
          <a:p>
            <a:r>
              <a:rPr lang="ru-RU" sz="600" b="1" dirty="0" smtClean="0">
                <a:solidFill>
                  <a:srgbClr val="0070C0"/>
                </a:solidFill>
              </a:rPr>
              <a:t>АСТАНА</a:t>
            </a:r>
            <a:endParaRPr lang="ru-RU" sz="600" b="1" dirty="0">
              <a:solidFill>
                <a:srgbClr val="0070C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6177078" y="612808"/>
            <a:ext cx="2866697" cy="4357929"/>
          </a:xfrm>
          <a:prstGeom prst="rect">
            <a:avLst/>
          </a:prstGeom>
          <a:solidFill>
            <a:srgbClr val="E6FAFA"/>
          </a:solidFill>
          <a:ln w="127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defTabSz="1828434">
              <a:buClrTx/>
              <a:buFontTx/>
              <a:buNone/>
            </a:pPr>
            <a:endParaRPr lang="ru-RU" sz="3600" kern="1200" dirty="0">
              <a:solidFill>
                <a:srgbClr val="777777"/>
              </a:solidFill>
              <a:latin typeface="Montserrat" panose="00000500000000000000" pitchFamily="2" charset="0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6225476" y="4873338"/>
            <a:ext cx="2715651" cy="45719"/>
          </a:xfrm>
          <a:prstGeom prst="rect">
            <a:avLst/>
          </a:prstGeom>
          <a:solidFill>
            <a:srgbClr val="44546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5305A23-BE5A-4F62-9CB8-E713A1AB81B1}"/>
              </a:ext>
            </a:extLst>
          </p:cNvPr>
          <p:cNvSpPr txBox="1"/>
          <p:nvPr/>
        </p:nvSpPr>
        <p:spPr>
          <a:xfrm>
            <a:off x="6208939" y="650141"/>
            <a:ext cx="19232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1" kern="1200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Г «ББШ»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>
            <a:off x="6243451" y="1038159"/>
            <a:ext cx="2636263" cy="3314"/>
          </a:xfrm>
          <a:prstGeom prst="line">
            <a:avLst/>
          </a:prstGeom>
          <a:ln w="12700">
            <a:solidFill>
              <a:srgbClr val="0070C0">
                <a:alpha val="67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Прямоугольник 102"/>
          <p:cNvSpPr/>
          <p:nvPr/>
        </p:nvSpPr>
        <p:spPr>
          <a:xfrm>
            <a:off x="6231443" y="1125750"/>
            <a:ext cx="270371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kern="1200" dirty="0">
                <a:solidFill>
                  <a:srgbClr val="002060"/>
                </a:solidFill>
                <a:latin typeface="+mn-lt"/>
              </a:rPr>
              <a:t>Протяжённость –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</a:rPr>
              <a:t>1449 км</a:t>
            </a: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kern="12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Диаметр</a:t>
            </a:r>
            <a:r>
              <a:rPr lang="en-US" sz="1200" b="1" kern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</a:t>
            </a:r>
            <a:r>
              <a:rPr lang="en-US" sz="1200" kern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1 067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мм</a:t>
            </a:r>
            <a:endParaRPr lang="ru-RU" sz="1200" b="1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kern="12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Давление (</a:t>
            </a:r>
            <a:r>
              <a:rPr lang="en-US" sz="1200" b="1" kern="1200" dirty="0" err="1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Pn</a:t>
            </a:r>
            <a:r>
              <a:rPr lang="ru-RU" sz="1200" b="1" kern="12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) </a:t>
            </a:r>
            <a:r>
              <a:rPr lang="en-US" sz="1200" kern="12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–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7,4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9,8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МПа</a:t>
            </a:r>
            <a:endParaRPr lang="ru-RU" sz="1200" b="1" kern="1200" dirty="0" smtClean="0">
              <a:solidFill>
                <a:srgbClr val="002060"/>
              </a:solidFill>
              <a:latin typeface="+mn-lt"/>
            </a:endParaRP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Мощность – 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15 млрд.м</a:t>
            </a:r>
            <a:r>
              <a:rPr lang="ru-RU" sz="12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³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/год</a:t>
            </a: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Компрессорных станций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 – 6 ед.</a:t>
            </a: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dirty="0" err="1" smtClean="0">
                <a:solidFill>
                  <a:srgbClr val="002060"/>
                </a:solidFill>
                <a:latin typeface="+mn-lt"/>
              </a:rPr>
              <a:t>Газоимерительных</a:t>
            </a: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 станций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 – 3 ед.</a:t>
            </a: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РЭУ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 – 4 ед.</a:t>
            </a: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Вахтовые поселки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 – 5 ед.</a:t>
            </a:r>
          </a:p>
          <a:p>
            <a:pPr marL="171450" indent="-171450" algn="just">
              <a:spcAft>
                <a:spcPts val="600"/>
              </a:spcAft>
              <a:buClrTx/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+mn-lt"/>
              </a:rPr>
              <a:t>Подключены 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– 17 АГРС, УРГ, МГ:</a:t>
            </a:r>
          </a:p>
          <a:p>
            <a:pPr marL="171450" indent="-171450" algn="just">
              <a:spcAft>
                <a:spcPts val="600"/>
              </a:spcAft>
              <a:buClrTx/>
              <a:buFontTx/>
              <a:buChar char="-"/>
              <a:defRPr/>
            </a:pPr>
            <a:r>
              <a:rPr lang="ru-RU" sz="1200" dirty="0" err="1" smtClean="0">
                <a:solidFill>
                  <a:srgbClr val="002060"/>
                </a:solidFill>
                <a:latin typeface="+mn-lt"/>
              </a:rPr>
              <a:t>Кызылординская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 – 8 АГРС</a:t>
            </a:r>
          </a:p>
          <a:p>
            <a:pPr marL="171450" indent="-171450" algn="just">
              <a:spcAft>
                <a:spcPts val="600"/>
              </a:spcAft>
              <a:buClrTx/>
              <a:buFontTx/>
              <a:buChar char="-"/>
              <a:defRPr/>
            </a:pP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Туркестанская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 – 9 АГРС</a:t>
            </a:r>
          </a:p>
          <a:p>
            <a:pPr marL="171450" indent="-171450" algn="just">
              <a:spcAft>
                <a:spcPts val="600"/>
              </a:spcAft>
              <a:buClrTx/>
              <a:buFontTx/>
              <a:buChar char="-"/>
              <a:defRPr/>
            </a:pP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УРГ «</a:t>
            </a:r>
            <a:r>
              <a:rPr lang="ru-RU" sz="1200" dirty="0" err="1" smtClean="0">
                <a:solidFill>
                  <a:srgbClr val="002060"/>
                </a:solidFill>
                <a:latin typeface="+mn-lt"/>
              </a:rPr>
              <a:t>Кызылорда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»</a:t>
            </a:r>
          </a:p>
          <a:p>
            <a:pPr marL="171450" indent="-171450" algn="just">
              <a:spcAft>
                <a:spcPts val="600"/>
              </a:spcAft>
              <a:buClrTx/>
              <a:buFontTx/>
              <a:buChar char="-"/>
              <a:defRPr/>
            </a:pP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МГ «</a:t>
            </a:r>
            <a:r>
              <a:rPr lang="ru-RU" sz="1200" dirty="0" err="1" smtClean="0">
                <a:solidFill>
                  <a:srgbClr val="002060"/>
                </a:solidFill>
                <a:latin typeface="+mn-lt"/>
              </a:rPr>
              <a:t>Сарыарка</a:t>
            </a:r>
            <a:r>
              <a:rPr lang="ru-RU" sz="1200" dirty="0" smtClean="0">
                <a:solidFill>
                  <a:srgbClr val="002060"/>
                </a:solidFill>
                <a:latin typeface="+mn-lt"/>
              </a:rPr>
              <a:t>»</a:t>
            </a:r>
          </a:p>
        </p:txBody>
      </p:sp>
      <p:sp>
        <p:nvSpPr>
          <p:cNvPr id="26" name="Rounded Rectangle 9">
            <a:extLst>
              <a:ext uri="{FF2B5EF4-FFF2-40B4-BE49-F238E27FC236}">
                <a16:creationId xmlns:a16="http://schemas.microsoft.com/office/drawing/2014/main" id="{9FD13060-6157-463F-A886-40090B0E329D}"/>
              </a:ext>
            </a:extLst>
          </p:cNvPr>
          <p:cNvSpPr/>
          <p:nvPr/>
        </p:nvSpPr>
        <p:spPr>
          <a:xfrm>
            <a:off x="155575" y="4189689"/>
            <a:ext cx="4489450" cy="751405"/>
          </a:xfrm>
          <a:prstGeom prst="roundRect">
            <a:avLst>
              <a:gd name="adj" fmla="val 2649"/>
            </a:avLst>
          </a:prstGeom>
          <a:solidFill>
            <a:schemeClr val="bg1"/>
          </a:solidFill>
          <a:ln w="381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3259270"/>
              </p:ext>
            </p:extLst>
          </p:nvPr>
        </p:nvGraphicFramePr>
        <p:xfrm>
          <a:off x="241298" y="4238670"/>
          <a:ext cx="4333877" cy="634668"/>
        </p:xfrm>
        <a:graphic>
          <a:graphicData uri="http://schemas.openxmlformats.org/drawingml/2006/table">
            <a:tbl>
              <a:tblPr firstRow="1" firstCol="1" bandRow="1"/>
              <a:tblGrid>
                <a:gridCol w="1284173">
                  <a:extLst>
                    <a:ext uri="{9D8B030D-6E8A-4147-A177-3AD203B41FA5}">
                      <a16:colId xmlns:a16="http://schemas.microsoft.com/office/drawing/2014/main" val="2917064708"/>
                    </a:ext>
                  </a:extLst>
                </a:gridCol>
                <a:gridCol w="762426">
                  <a:extLst>
                    <a:ext uri="{9D8B030D-6E8A-4147-A177-3AD203B41FA5}">
                      <a16:colId xmlns:a16="http://schemas.microsoft.com/office/drawing/2014/main" val="4012901543"/>
                    </a:ext>
                  </a:extLst>
                </a:gridCol>
                <a:gridCol w="762426">
                  <a:extLst>
                    <a:ext uri="{9D8B030D-6E8A-4147-A177-3AD203B41FA5}">
                      <a16:colId xmlns:a16="http://schemas.microsoft.com/office/drawing/2014/main" val="2662995420"/>
                    </a:ext>
                  </a:extLst>
                </a:gridCol>
                <a:gridCol w="762426">
                  <a:extLst>
                    <a:ext uri="{9D8B030D-6E8A-4147-A177-3AD203B41FA5}">
                      <a16:colId xmlns:a16="http://schemas.microsoft.com/office/drawing/2014/main" val="3968796047"/>
                    </a:ext>
                  </a:extLst>
                </a:gridCol>
                <a:gridCol w="762426">
                  <a:extLst>
                    <a:ext uri="{9D8B030D-6E8A-4147-A177-3AD203B41FA5}">
                      <a16:colId xmlns:a16="http://schemas.microsoft.com/office/drawing/2014/main" val="4152645677"/>
                    </a:ext>
                  </a:extLst>
                </a:gridCol>
              </a:tblGrid>
              <a:tr h="30853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89AB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ПП</a:t>
                      </a:r>
                      <a:endParaRPr lang="ru-RU" sz="1000" dirty="0">
                        <a:solidFill>
                          <a:schemeClr val="bg1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89AB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АУП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89AB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ГУП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89AB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ГБШ</a:t>
                      </a: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89A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878673"/>
                  </a:ext>
                </a:extLst>
              </a:tr>
              <a:tr h="265714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Штатная</a:t>
                      </a:r>
                      <a:r>
                        <a:rPr lang="ru-RU" sz="1000" b="1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 чи</a:t>
                      </a:r>
                      <a:r>
                        <a:rPr lang="ru-RU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сленность, ед.</a:t>
                      </a: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21</a:t>
                      </a:r>
                      <a:endParaRPr lang="ru-RU" sz="1000" b="1" dirty="0">
                        <a:solidFill>
                          <a:srgbClr val="002060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159</a:t>
                      </a:r>
                      <a:endParaRPr lang="ru-RU" sz="1000" b="1" dirty="0">
                        <a:solidFill>
                          <a:srgbClr val="002060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0</a:t>
                      </a:r>
                      <a:endParaRPr lang="ru-RU" sz="1000" b="1" dirty="0">
                        <a:solidFill>
                          <a:srgbClr val="002060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DengXian"/>
                          <a:cs typeface="Calibri" panose="020F0502020204030204" pitchFamily="34" charset="0"/>
                        </a:rPr>
                        <a:t>210</a:t>
                      </a:r>
                      <a:endParaRPr lang="ru-RU" sz="1000" b="1" dirty="0">
                        <a:solidFill>
                          <a:srgbClr val="002060"/>
                        </a:solidFill>
                        <a:effectLst/>
                        <a:latin typeface="+mn-lt"/>
                        <a:ea typeface="DengXian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155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758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Right Triangle 59">
            <a:extLst>
              <a:ext uri="{FF2B5EF4-FFF2-40B4-BE49-F238E27FC236}">
                <a16:creationId xmlns:a16="http://schemas.microsoft.com/office/drawing/2014/main" id="{E261A543-F363-4950-B5B9-128CAD7695A1}"/>
              </a:ext>
            </a:extLst>
          </p:cNvPr>
          <p:cNvSpPr/>
          <p:nvPr/>
        </p:nvSpPr>
        <p:spPr>
          <a:xfrm rot="16200000" flipV="1">
            <a:off x="3313577" y="1677814"/>
            <a:ext cx="238124" cy="254279"/>
          </a:xfrm>
          <a:prstGeom prst="rtTriangle">
            <a:avLst/>
          </a:prstGeom>
          <a:solidFill>
            <a:srgbClr val="005392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827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Arial"/>
              <a:sym typeface="Arial"/>
            </a:endParaRPr>
          </a:p>
        </p:txBody>
      </p:sp>
      <p:sp>
        <p:nvSpPr>
          <p:cNvPr id="255" name="Rounded Rectangle 9">
            <a:extLst>
              <a:ext uri="{FF2B5EF4-FFF2-40B4-BE49-F238E27FC236}">
                <a16:creationId xmlns:a16="http://schemas.microsoft.com/office/drawing/2014/main" id="{9FD13060-6157-463F-A886-40090B0E329D}"/>
              </a:ext>
            </a:extLst>
          </p:cNvPr>
          <p:cNvSpPr/>
          <p:nvPr/>
        </p:nvSpPr>
        <p:spPr>
          <a:xfrm>
            <a:off x="309730" y="1604224"/>
            <a:ext cx="8685331" cy="3266624"/>
          </a:xfrm>
          <a:prstGeom prst="roundRect">
            <a:avLst>
              <a:gd name="adj" fmla="val 2649"/>
            </a:avLst>
          </a:prstGeom>
          <a:solidFill>
            <a:schemeClr val="bg1">
              <a:lumMod val="95000"/>
            </a:schemeClr>
          </a:solidFill>
          <a:ln w="3810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54" name="Прямоугольник 253"/>
          <p:cNvSpPr/>
          <p:nvPr/>
        </p:nvSpPr>
        <p:spPr>
          <a:xfrm>
            <a:off x="355535" y="3802196"/>
            <a:ext cx="8391311" cy="8949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Arial"/>
                <a:sym typeface="Arial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Arial"/>
                <a:sym typeface="Arial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01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4862637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1"/>
            <a:ext cx="46757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cs typeface="Arial"/>
                <a:sym typeface="Ubuntu"/>
              </a:rPr>
              <a:t>ОБЪЕМ ПРЕДОСТАВЛЕННЫХ УСЛУГ ЗА 2023 ГОД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4908355" y="96143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59155" y="100934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buntu"/>
                <a:ea typeface="Ubuntu"/>
                <a:cs typeface="Ubuntu"/>
                <a:sym typeface="Ubuntu"/>
              </a:rPr>
              <a:t>4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6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RU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639452" y="3365620"/>
            <a:ext cx="278071" cy="100509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>
            <a:off x="303925" y="1969107"/>
            <a:ext cx="1408" cy="1519316"/>
          </a:xfrm>
          <a:prstGeom prst="line">
            <a:avLst/>
          </a:prstGeom>
          <a:ln w="95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309928" y="3313621"/>
            <a:ext cx="303795" cy="169979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44" name="Прямая соединительная линия 143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933532" y="3119841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296866" y="3506217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4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263547" y="3131514"/>
            <a:ext cx="32893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2,5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cxnSp>
        <p:nvCxnSpPr>
          <p:cNvPr id="172" name="Прямая соединительная линия 171">
            <a:extLst>
              <a:ext uri="{FF2B5EF4-FFF2-40B4-BE49-F238E27FC236}">
                <a16:creationId xmlns:a16="http://schemas.microsoft.com/office/drawing/2014/main" id="{47FDF2EE-481D-45E0-96D6-A3B5B5ED32BA}"/>
              </a:ext>
            </a:extLst>
          </p:cNvPr>
          <p:cNvCxnSpPr>
            <a:cxnSpLocks/>
          </p:cNvCxnSpPr>
          <p:nvPr/>
        </p:nvCxnSpPr>
        <p:spPr>
          <a:xfrm>
            <a:off x="303925" y="3489557"/>
            <a:ext cx="8504893" cy="4094"/>
          </a:xfrm>
          <a:prstGeom prst="line">
            <a:avLst/>
          </a:prstGeom>
          <a:ln w="9525">
            <a:solidFill>
              <a:srgbClr val="78B6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Прямоугольник 174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589732" y="3191903"/>
            <a:ext cx="32893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,4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76" name="Прямоугольник 175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1317104" y="3378941"/>
            <a:ext cx="278071" cy="100509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998619" y="3313621"/>
            <a:ext cx="303795" cy="169979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78" name="Прямая соединительная линия 177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1654495" y="3165520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TextBox 178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1019689" y="3493317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5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0" name="Прямоугольник 179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971458" y="3119841"/>
            <a:ext cx="32893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2,5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81" name="Прямоугольник 180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1253560" y="3178705"/>
            <a:ext cx="32893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,2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82" name="Прямоугольник 181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2067537" y="3318384"/>
            <a:ext cx="278071" cy="164292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83" name="Прямоугольник 182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1740354" y="3348832"/>
            <a:ext cx="303795" cy="139797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84" name="Прямая соединительная линия 183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2468331" y="3178086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TextBox 184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1785054" y="3484052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6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86" name="Прямоугольник 185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1715084" y="3166391"/>
            <a:ext cx="32893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,8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2053552" y="3145652"/>
            <a:ext cx="32893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2,2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88" name="Прямоугольник 187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2858474" y="3187223"/>
            <a:ext cx="278071" cy="294782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89" name="Прямоугольник 188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2540908" y="3152966"/>
            <a:ext cx="303795" cy="321309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90" name="Прямая соединительная линия 189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3259016" y="3201973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2529866" y="3503093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7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2" name="Прямоугольник 191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2589468" y="2955969"/>
            <a:ext cx="33728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5,0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93" name="Прямоугольник 192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2860093" y="3001814"/>
            <a:ext cx="37429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4,4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194" name="Прямоугольник 193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3634682" y="2789942"/>
            <a:ext cx="278071" cy="685852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3335300" y="3074445"/>
            <a:ext cx="303795" cy="402849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196" name="Прямая соединительная линия 195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4076013" y="3203309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3046281" y="3501124"/>
            <a:ext cx="118953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8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0" name="Прямоугольник 199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4493343" y="2565460"/>
            <a:ext cx="278071" cy="915187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01" name="Прямоугольник 200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4164554" y="2630148"/>
            <a:ext cx="303795" cy="852102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202" name="Прямая соединительная линия 201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4881554" y="3186128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TextBox 202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4223431" y="3501124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9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06" name="Прямоугольник 205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5270988" y="2253774"/>
            <a:ext cx="278071" cy="1221453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07" name="Прямоугольник 206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4966701" y="2454515"/>
            <a:ext cx="303795" cy="1027735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208" name="Прямая соединительная линия 207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5685588" y="3201974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TextBox 208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5080675" y="3503880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0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4711066" y="2038330"/>
            <a:ext cx="14226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2,7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6113828" y="2238425"/>
            <a:ext cx="278071" cy="1243825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13" name="Прямоугольник 212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5806569" y="2260168"/>
            <a:ext cx="303795" cy="1220679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214" name="Прямая соединительная линия 213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6482544" y="3208330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TextBox 214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5866418" y="3504264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1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17" name="Прямоугольник 216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6048118" y="2030979"/>
            <a:ext cx="38664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2,9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6869411" y="2288553"/>
            <a:ext cx="278071" cy="1191565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19" name="Прямоугольник 218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6550926" y="2238425"/>
            <a:ext cx="303795" cy="1252083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cxnSp>
        <p:nvCxnSpPr>
          <p:cNvPr id="220" name="Прямая соединительная линия 219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7322209" y="3172993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6676073" y="3527412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2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7736318" y="2031567"/>
            <a:ext cx="278071" cy="1437464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7410492" y="2377597"/>
            <a:ext cx="303795" cy="1089442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5129629B-013B-4E26-A6AA-7C583778F577}"/>
              </a:ext>
            </a:extLst>
          </p:cNvPr>
          <p:cNvSpPr txBox="1"/>
          <p:nvPr/>
        </p:nvSpPr>
        <p:spPr>
          <a:xfrm>
            <a:off x="7562389" y="3536461"/>
            <a:ext cx="48763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23г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  <a:endParaRPr kumimoji="0" lang="ru-KZ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3301039" y="2883621"/>
            <a:ext cx="38981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5,8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37" name="Прямоугольник 236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3618790" y="2604750"/>
            <a:ext cx="40987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8,4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38" name="Прямоугольник 237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4083143" y="2422179"/>
            <a:ext cx="48006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9,7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39" name="Прямоугольник 238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4353338" y="2367557"/>
            <a:ext cx="55501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0,1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0" name="Прямоугольник 239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4575498" y="2246835"/>
            <a:ext cx="107510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1,0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1" name="Прямоугольник 240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5270496" y="2042947"/>
            <a:ext cx="142944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2,7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2" name="Прямоугольник 241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6518908" y="2029065"/>
            <a:ext cx="38664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2,9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3" name="Прямоугольник 242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6297795" y="2095609"/>
            <a:ext cx="156469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2,2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4" name="Прямоугольник 243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6699944" y="2182646"/>
            <a:ext cx="17000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1,6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5" name="Прямоугольник 244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7647093" y="1822886"/>
            <a:ext cx="45642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5,3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246" name="Прямоугольник 245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412797" y="3874544"/>
            <a:ext cx="644239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1,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ыс.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/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47" name="Прямоугольник 246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1308835" y="3877374"/>
            <a:ext cx="3104874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8,1</a:t>
            </a:r>
            <a:endParaRPr kumimoji="0" lang="en-US" sz="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ыс.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/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48" name="Прямоугольник 247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4659664" y="3875885"/>
            <a:ext cx="644239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6,6</a:t>
            </a:r>
            <a:endParaRPr kumimoji="0" lang="en-US" sz="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ыс.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/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49" name="Прямоугольник 248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5483607" y="3877373"/>
            <a:ext cx="644239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6,0</a:t>
            </a:r>
            <a:endParaRPr kumimoji="0" lang="en-US" sz="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ыс.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/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50" name="Прямоугольник 249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6354724" y="3876070"/>
            <a:ext cx="1479650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5,6</a:t>
            </a:r>
            <a:endParaRPr kumimoji="0" lang="en-US" sz="8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ыс.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/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52" name="Прямоугольник 251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8053267" y="3874544"/>
            <a:ext cx="644239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2</a:t>
            </a: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,</a:t>
            </a: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ыс.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/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257" name="Rectangle 60">
            <a:extLst>
              <a:ext uri="{FF2B5EF4-FFF2-40B4-BE49-F238E27FC236}">
                <a16:creationId xmlns:a16="http://schemas.microsoft.com/office/drawing/2014/main" id="{EC58A703-5109-44F9-A635-58341601F598}"/>
              </a:ext>
            </a:extLst>
          </p:cNvPr>
          <p:cNvSpPr/>
          <p:nvPr/>
        </p:nvSpPr>
        <p:spPr>
          <a:xfrm rot="10800000">
            <a:off x="504925" y="1685677"/>
            <a:ext cx="2802837" cy="238543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18272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Light"/>
              <a:ea typeface="+mn-ea"/>
              <a:cs typeface="Arial"/>
              <a:sym typeface="Arial"/>
            </a:endParaRPr>
          </a:p>
        </p:txBody>
      </p:sp>
      <p:sp>
        <p:nvSpPr>
          <p:cNvPr id="258" name="Прямоугольник 257"/>
          <p:cNvSpPr/>
          <p:nvPr/>
        </p:nvSpPr>
        <p:spPr>
          <a:xfrm>
            <a:off x="469596" y="1689379"/>
            <a:ext cx="298725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Arial"/>
                <a:sym typeface="Arial"/>
              </a:rPr>
              <a:t>Динамика изменения объемов, млрд.м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³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59" name="Прямоугольник 258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483420" y="2177114"/>
            <a:ext cx="204575" cy="109229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60" name="Прямоугольник 259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491778" y="2433693"/>
            <a:ext cx="204576" cy="112419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61" name="Прямоугольник 260"/>
          <p:cNvSpPr/>
          <p:nvPr/>
        </p:nvSpPr>
        <p:spPr>
          <a:xfrm>
            <a:off x="679310" y="2134713"/>
            <a:ext cx="2141933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- ПЛАНОВЫЙ ОБЪЕМ ТРАНСПОРТИРОВКИ</a:t>
            </a: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62" name="Прямоугольник 261"/>
          <p:cNvSpPr/>
          <p:nvPr/>
        </p:nvSpPr>
        <p:spPr>
          <a:xfrm>
            <a:off x="679623" y="2392194"/>
            <a:ext cx="221086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- ФАКТИЧЕСКИЙ ОБЪЕМ ТРАНСПОРТИРОВКИ</a:t>
            </a: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5483607" y="4243653"/>
            <a:ext cx="644239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 200</a:t>
            </a:r>
            <a:r>
              <a:rPr lang="ru-RU" sz="800" b="1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. </a:t>
            </a:r>
            <a:r>
              <a:rPr lang="ru-RU" sz="600" b="1" dirty="0" smtClean="0">
                <a:solidFill>
                  <a:prstClr val="white"/>
                </a:solidFill>
                <a:latin typeface="Calibri" panose="020F0502020204030204"/>
              </a:rPr>
              <a:t>/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*100км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6354240" y="4239451"/>
            <a:ext cx="1480134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1 158</a:t>
            </a:r>
            <a:r>
              <a:rPr kumimoji="0" lang="ru-RU" sz="800" b="1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                                            </a:t>
            </a:r>
            <a:r>
              <a:rPr lang="ru-RU" sz="800" b="1" dirty="0" smtClean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. </a:t>
            </a:r>
            <a:r>
              <a:rPr lang="ru-RU" sz="600" b="1" dirty="0" smtClean="0">
                <a:solidFill>
                  <a:prstClr val="white"/>
                </a:solidFill>
                <a:latin typeface="Calibri" panose="020F0502020204030204"/>
              </a:rPr>
              <a:t>/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*100км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43C129FB-0E43-4735-8F6C-644DE2E8F298}"/>
              </a:ext>
            </a:extLst>
          </p:cNvPr>
          <p:cNvSpPr/>
          <p:nvPr/>
        </p:nvSpPr>
        <p:spPr>
          <a:xfrm>
            <a:off x="8054794" y="4249832"/>
            <a:ext cx="644239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902,08</a:t>
            </a:r>
            <a:r>
              <a:rPr kumimoji="0" lang="ru-RU" sz="6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тг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. </a:t>
            </a:r>
            <a:r>
              <a:rPr lang="ru-RU" sz="600" b="1" dirty="0" smtClean="0">
                <a:solidFill>
                  <a:prstClr val="white"/>
                </a:solidFill>
                <a:latin typeface="Calibri" panose="020F0502020204030204"/>
              </a:rPr>
              <a:t>/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t> тыс.м</a:t>
            </a:r>
            <a:r>
              <a:rPr kumimoji="0" lang="ru-RU" sz="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 panose="02020603050405020304" pitchFamily="18" charset="0"/>
                <a:sym typeface="Arial"/>
              </a:rPr>
              <a:t>³*100км</a:t>
            </a:r>
            <a:endParaRPr kumimoji="0" lang="ru-RU" sz="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3618791" y="4640016"/>
            <a:ext cx="189346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  <a:sym typeface="Arial"/>
              </a:rPr>
              <a:t>уровень тарифа по периодам</a:t>
            </a: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 flipV="1">
            <a:off x="5471252" y="4636625"/>
            <a:ext cx="2916424" cy="125348"/>
          </a:xfrm>
          <a:prstGeom prst="line">
            <a:avLst/>
          </a:prstGeom>
          <a:ln w="95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>
            <a:off x="560354" y="4640944"/>
            <a:ext cx="3058435" cy="128018"/>
          </a:xfrm>
          <a:prstGeom prst="line">
            <a:avLst/>
          </a:prstGeom>
          <a:ln w="95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8" name="Таблица 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264146"/>
              </p:ext>
            </p:extLst>
          </p:nvPr>
        </p:nvGraphicFramePr>
        <p:xfrm>
          <a:off x="245211" y="492187"/>
          <a:ext cx="8685330" cy="727978"/>
        </p:xfrm>
        <a:graphic>
          <a:graphicData uri="http://schemas.openxmlformats.org/drawingml/2006/table">
            <a:tbl>
              <a:tblPr firstRow="1" bandRow="1"/>
              <a:tblGrid>
                <a:gridCol w="491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152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96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34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651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04146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№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Ед. изм.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 утвержденной тарифной смете 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Фактическое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исполнение</a:t>
                      </a:r>
                      <a:endParaRPr lang="ru-RU" sz="9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830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endParaRPr lang="ru-RU" sz="900" b="1" dirty="0"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Объем транспортировки</a:t>
                      </a:r>
                      <a:r>
                        <a:rPr lang="ru-RU" sz="900" b="1" baseline="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товарного газа по магистральному газопроводу</a:t>
                      </a:r>
                      <a:endParaRPr lang="ru-RU" sz="900" b="1" dirty="0"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тыс. м3</a:t>
                      </a:r>
                      <a:endParaRPr lang="ru-RU" sz="900" b="1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5 313 851</a:t>
                      </a:r>
                      <a:endParaRPr lang="ru-RU" sz="9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 138 168</a:t>
                      </a:r>
                      <a:endParaRPr lang="ru-RU" sz="900" b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512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endParaRPr lang="ru-RU" sz="900" b="1" dirty="0"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Газ на собственные нужды и технологические потери</a:t>
                      </a:r>
                      <a:endParaRPr lang="ru-RU" sz="900" b="1" dirty="0">
                        <a:effectLst/>
                        <a:latin typeface="+mn-lt"/>
                        <a:ea typeface="D # @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тыс. м3</a:t>
                      </a:r>
                      <a:endParaRPr lang="ru-RU" sz="900" b="1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8 048 272</a:t>
                      </a:r>
                      <a:endParaRPr lang="ru-RU" sz="9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9525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82 860 643</a:t>
                      </a:r>
                    </a:p>
                  </a:txBody>
                  <a:tcPr marL="68580" marR="68580" marT="9525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9" name="TextBox 98"/>
          <p:cNvSpPr txBox="1"/>
          <p:nvPr/>
        </p:nvSpPr>
        <p:spPr>
          <a:xfrm>
            <a:off x="235214" y="1227544"/>
            <a:ext cx="8685330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ClrTx/>
              <a:buFontTx/>
              <a:buNone/>
            </a:pPr>
            <a:r>
              <a:rPr lang="en-US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*</a:t>
            </a:r>
            <a:r>
              <a:rPr lang="ru-RU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 Утвержденный </a:t>
            </a:r>
            <a:r>
              <a:rPr lang="ru-RU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уполномоченным органом уровень газа на СНиТП составляет </a:t>
            </a:r>
            <a:r>
              <a:rPr lang="en-US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2,9</a:t>
            </a:r>
            <a:r>
              <a:rPr lang="ru-RU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% </a:t>
            </a:r>
            <a:r>
              <a:rPr lang="ru-RU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от объема транспортировки</a:t>
            </a:r>
            <a:r>
              <a:rPr lang="en-US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.</a:t>
            </a:r>
            <a:r>
              <a:rPr lang="ru-RU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 В отчетном периоде </a:t>
            </a:r>
            <a:r>
              <a:rPr lang="kk-KZ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отмечается снижение</a:t>
            </a:r>
            <a:r>
              <a:rPr lang="ru-RU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 уровня газа на </a:t>
            </a:r>
            <a:r>
              <a:rPr lang="ru-RU" sz="800" i="1" kern="1200" dirty="0" err="1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СНиТП</a:t>
            </a:r>
            <a:r>
              <a:rPr lang="ru-RU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  </a:t>
            </a:r>
            <a:r>
              <a:rPr lang="ru-RU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на уровне 2</a:t>
            </a:r>
            <a:r>
              <a:rPr lang="en-US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,5</a:t>
            </a:r>
            <a:r>
              <a:rPr lang="ru-RU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%  </a:t>
            </a:r>
            <a:r>
              <a:rPr lang="ru-RU" sz="800" i="1" kern="1200" dirty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от объема </a:t>
            </a:r>
            <a:r>
              <a:rPr lang="ru-RU" sz="800" i="1" kern="1200" dirty="0" smtClean="0">
                <a:solidFill>
                  <a:prstClr val="black"/>
                </a:solidFill>
                <a:latin typeface="+mn-lt"/>
                <a:ea typeface="+mn-ea"/>
                <a:cs typeface="Times New Roman" panose="02020603050405020304" pitchFamily="18" charset="0"/>
              </a:rPr>
              <a:t>транспортировки</a:t>
            </a:r>
            <a:endParaRPr lang="ru-RU" sz="800" i="1" kern="1200" dirty="0">
              <a:solidFill>
                <a:prstClr val="black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100" name="Прямая соединительная линия 99">
            <a:extLst>
              <a:ext uri="{FF2B5EF4-FFF2-40B4-BE49-F238E27FC236}">
                <a16:creationId xmlns:a16="http://schemas.microsoft.com/office/drawing/2014/main" id="{BFC25CEA-7219-4882-B997-EA53F5A05D01}"/>
              </a:ext>
            </a:extLst>
          </p:cNvPr>
          <p:cNvCxnSpPr>
            <a:cxnSpLocks/>
          </p:cNvCxnSpPr>
          <p:nvPr/>
        </p:nvCxnSpPr>
        <p:spPr>
          <a:xfrm flipH="1">
            <a:off x="8124339" y="3189230"/>
            <a:ext cx="380" cy="543575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8562843" y="1885538"/>
            <a:ext cx="278071" cy="1597888"/>
          </a:xfrm>
          <a:prstGeom prst="rect">
            <a:avLst/>
          </a:prstGeom>
          <a:pattFill prst="dkUpDiag">
            <a:fgClr>
              <a:srgbClr val="52C3CB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642F5B30-BF3C-448A-87D4-B510F79F5151}"/>
              </a:ext>
            </a:extLst>
          </p:cNvPr>
          <p:cNvSpPr/>
          <p:nvPr/>
        </p:nvSpPr>
        <p:spPr>
          <a:xfrm>
            <a:off x="8234925" y="2043524"/>
            <a:ext cx="303795" cy="1438078"/>
          </a:xfrm>
          <a:prstGeom prst="rect">
            <a:avLst/>
          </a:prstGeom>
          <a:solidFill>
            <a:srgbClr val="52C3CB"/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ru-KZ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2277983B-35E6-45D4-821D-12475D876BAB}"/>
              </a:ext>
            </a:extLst>
          </p:cNvPr>
          <p:cNvSpPr/>
          <p:nvPr/>
        </p:nvSpPr>
        <p:spPr>
          <a:xfrm>
            <a:off x="8185414" y="1757055"/>
            <a:ext cx="39293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roPro" panose="020B0504020101020102" pitchFamily="34" charset="0"/>
                <a:cs typeface="Arial"/>
                <a:sym typeface="Arial"/>
              </a:rPr>
              <a:t>15,3</a:t>
            </a:r>
            <a:endParaRPr kumimoji="0" lang="ru-RU" sz="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roPro" panose="020B0504020101020102" pitchFamily="34" charset="0"/>
              <a:cs typeface="Arial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2927" y="1685677"/>
            <a:ext cx="3876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rgbClr val="002060"/>
                </a:solidFill>
                <a:latin typeface="SeroPro" panose="020B0504020101020102" pitchFamily="34" charset="0"/>
              </a:rPr>
              <a:t>16,1</a:t>
            </a:r>
            <a:endParaRPr lang="ru-RU" sz="800" b="1" dirty="0">
              <a:solidFill>
                <a:srgbClr val="002060"/>
              </a:solidFill>
              <a:latin typeface="SeroPro" panose="020B0504020101020102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61772" y="3560963"/>
            <a:ext cx="5946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800" b="1" dirty="0">
                <a:solidFill>
                  <a:srgbClr val="002060"/>
                </a:solidFill>
              </a:rPr>
              <a:t>2024 </a:t>
            </a:r>
            <a:r>
              <a:rPr lang="kk-KZ" sz="800" b="1" dirty="0">
                <a:solidFill>
                  <a:srgbClr val="002060"/>
                </a:solidFill>
              </a:rPr>
              <a:t>г</a:t>
            </a:r>
            <a:r>
              <a:rPr lang="en-US" sz="800" b="1" dirty="0">
                <a:solidFill>
                  <a:srgbClr val="002060"/>
                </a:solidFill>
              </a:rPr>
              <a:t>.</a:t>
            </a:r>
            <a:endParaRPr lang="ru-RU" sz="8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3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6060868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ФИНАНСОВАЯ ОТЧЕТНОСТЬ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 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6106585" y="102452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6157385" y="107243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5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7200021"/>
              </p:ext>
            </p:extLst>
          </p:nvPr>
        </p:nvGraphicFramePr>
        <p:xfrm>
          <a:off x="205409" y="609604"/>
          <a:ext cx="8686800" cy="4197304"/>
        </p:xfrm>
        <a:graphic>
          <a:graphicData uri="http://schemas.openxmlformats.org/drawingml/2006/table">
            <a:tbl>
              <a:tblPr/>
              <a:tblGrid>
                <a:gridCol w="4061362">
                  <a:extLst>
                    <a:ext uri="{9D8B030D-6E8A-4147-A177-3AD203B41FA5}">
                      <a16:colId xmlns:a16="http://schemas.microsoft.com/office/drawing/2014/main" val="3423280909"/>
                    </a:ext>
                  </a:extLst>
                </a:gridCol>
                <a:gridCol w="2312719">
                  <a:extLst>
                    <a:ext uri="{9D8B030D-6E8A-4147-A177-3AD203B41FA5}">
                      <a16:colId xmlns:a16="http://schemas.microsoft.com/office/drawing/2014/main" val="3731534763"/>
                    </a:ext>
                  </a:extLst>
                </a:gridCol>
                <a:gridCol w="2312719">
                  <a:extLst>
                    <a:ext uri="{9D8B030D-6E8A-4147-A177-3AD203B41FA5}">
                      <a16:colId xmlns:a16="http://schemas.microsoft.com/office/drawing/2014/main" val="1705445444"/>
                    </a:ext>
                  </a:extLst>
                </a:gridCol>
              </a:tblGrid>
              <a:tr h="421199"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Наименова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Факт </a:t>
                      </a: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года 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кт 2023 года 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3357298"/>
                  </a:ext>
                </a:extLst>
              </a:tr>
              <a:tr h="421199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 от основной деятельности всего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4 863 678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8 259 378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9860940"/>
                  </a:ext>
                </a:extLst>
              </a:tr>
              <a:tr h="421199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бестоимость оказанных услуг 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3 982 883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49 605 396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0538516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аловый доход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0 880 795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8 653 982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190424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щие и административные расходы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 269 182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8 359 528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2074611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нансовые расходы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6 834 094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14 401 009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1997453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</a:t>
                      </a:r>
                      <a:r>
                        <a:rPr lang="ru-RU" sz="1200" b="1" kern="120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 812 196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38 701)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5585731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тый доход (убыток) до налогообложения 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9 965 323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5 854 744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5634431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 по подоходному налогу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5826"/>
                  </a:ext>
                </a:extLst>
              </a:tr>
              <a:tr h="419101">
                <a:tc>
                  <a:txBody>
                    <a:bodyPr/>
                    <a:lstStyle/>
                    <a:p>
                      <a:pPr marL="82550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тый доход (убыток) после налогообложения </a:t>
                      </a:r>
                      <a:endParaRPr lang="ru-RU" sz="12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9 965 323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ctr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5 854 744</a:t>
                      </a:r>
                    </a:p>
                  </a:txBody>
                  <a:tcPr marL="6191" marR="6191" marT="61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063267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009660" y="386027"/>
            <a:ext cx="13981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err="1" smtClean="0">
                <a:latin typeface="Calibri "/>
              </a:rPr>
              <a:t>тыс</a:t>
            </a:r>
            <a:r>
              <a:rPr lang="en-US" sz="1000" b="1" i="1" dirty="0" smtClean="0">
                <a:latin typeface="Calibri "/>
              </a:rPr>
              <a:t>. </a:t>
            </a:r>
            <a:r>
              <a:rPr lang="ru-RU" sz="1000" b="1" i="1" dirty="0" smtClean="0">
                <a:latin typeface="Calibri "/>
              </a:rPr>
              <a:t>тенге</a:t>
            </a:r>
            <a:endParaRPr lang="ru-RU" sz="1000" b="1" i="1" dirty="0">
              <a:latin typeface="Calibri "/>
            </a:endParaRPr>
          </a:p>
        </p:txBody>
      </p:sp>
    </p:spTree>
    <p:extLst>
      <p:ext uri="{BB962C8B-B14F-4D97-AF65-F5344CB8AC3E}">
        <p14:creationId xmlns:p14="http://schemas.microsoft.com/office/powerpoint/2010/main" val="3260957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6060868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ИСПОЛНЕНИЕ ИНВЕСТИЦИОННОЙ ПРОГРАММЫ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 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6106585" y="102452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6157385" y="107243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6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195523" y="548204"/>
            <a:ext cx="8752954" cy="623248"/>
          </a:xfrm>
          <a:prstGeom prst="rect">
            <a:avLst/>
          </a:prstGeom>
          <a:solidFill>
            <a:srgbClr val="FFF4D5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just" defTabSz="685800">
              <a:buClrTx/>
            </a:pPr>
            <a:r>
              <a:rPr lang="en-US" sz="1200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       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Инвестиционная программа утверждена совместным приказом Министерства энергетики РК от </a:t>
            </a:r>
            <a:r>
              <a:rPr lang="en-US" sz="1125" kern="1200" dirty="0" smtClean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31 </a:t>
            </a:r>
            <a:r>
              <a:rPr lang="ru-RU" sz="1125" kern="1200" dirty="0" smtClean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декабря 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202</a:t>
            </a:r>
            <a:r>
              <a:rPr lang="en-US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4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 года </a:t>
            </a:r>
            <a:r>
              <a:rPr lang="ru-RU" sz="1125" kern="1200" dirty="0" smtClean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№504 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и Департамента Комитета по регулированию естественных монополий Министерства национальной экономики РК по городу Алматы от </a:t>
            </a:r>
            <a:r>
              <a:rPr lang="ru-RU" sz="1125" kern="1200" dirty="0" smtClean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13 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декабря </a:t>
            </a:r>
            <a:r>
              <a:rPr lang="ru-RU" sz="1125" kern="1200" dirty="0" smtClean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2024 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года </a:t>
            </a:r>
            <a:r>
              <a:rPr lang="ru-RU" sz="1125" kern="1200" dirty="0" smtClean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№165-ОД</a:t>
            </a:r>
            <a:r>
              <a:rPr lang="ru-RU" sz="1125" kern="1200" dirty="0">
                <a:solidFill>
                  <a:srgbClr val="002060"/>
                </a:solidFill>
                <a:latin typeface="+mn-lt"/>
                <a:ea typeface="+mn-ea"/>
                <a:cs typeface="Times New Roman" panose="02020603050405020304" pitchFamily="18" charset="0"/>
              </a:rPr>
              <a:t>. 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6389768"/>
              </p:ext>
            </p:extLst>
          </p:nvPr>
        </p:nvGraphicFramePr>
        <p:xfrm>
          <a:off x="195523" y="1404177"/>
          <a:ext cx="8752954" cy="3524485"/>
        </p:xfrm>
        <a:graphic>
          <a:graphicData uri="http://schemas.openxmlformats.org/drawingml/2006/table">
            <a:tbl>
              <a:tblPr/>
              <a:tblGrid>
                <a:gridCol w="335775">
                  <a:extLst>
                    <a:ext uri="{9D8B030D-6E8A-4147-A177-3AD203B41FA5}">
                      <a16:colId xmlns:a16="http://schemas.microsoft.com/office/drawing/2014/main" val="1973209988"/>
                    </a:ext>
                  </a:extLst>
                </a:gridCol>
                <a:gridCol w="1051543">
                  <a:extLst>
                    <a:ext uri="{9D8B030D-6E8A-4147-A177-3AD203B41FA5}">
                      <a16:colId xmlns:a16="http://schemas.microsoft.com/office/drawing/2014/main" val="4230754816"/>
                    </a:ext>
                  </a:extLst>
                </a:gridCol>
                <a:gridCol w="873071">
                  <a:extLst>
                    <a:ext uri="{9D8B030D-6E8A-4147-A177-3AD203B41FA5}">
                      <a16:colId xmlns:a16="http://schemas.microsoft.com/office/drawing/2014/main" val="1278993424"/>
                    </a:ext>
                  </a:extLst>
                </a:gridCol>
                <a:gridCol w="569185">
                  <a:extLst>
                    <a:ext uri="{9D8B030D-6E8A-4147-A177-3AD203B41FA5}">
                      <a16:colId xmlns:a16="http://schemas.microsoft.com/office/drawing/2014/main" val="2843106848"/>
                    </a:ext>
                  </a:extLst>
                </a:gridCol>
                <a:gridCol w="443771">
                  <a:extLst>
                    <a:ext uri="{9D8B030D-6E8A-4147-A177-3AD203B41FA5}">
                      <a16:colId xmlns:a16="http://schemas.microsoft.com/office/drawing/2014/main" val="4153281125"/>
                    </a:ext>
                  </a:extLst>
                </a:gridCol>
                <a:gridCol w="405182">
                  <a:extLst>
                    <a:ext uri="{9D8B030D-6E8A-4147-A177-3AD203B41FA5}">
                      <a16:colId xmlns:a16="http://schemas.microsoft.com/office/drawing/2014/main" val="2888470557"/>
                    </a:ext>
                  </a:extLst>
                </a:gridCol>
                <a:gridCol w="1075663">
                  <a:extLst>
                    <a:ext uri="{9D8B030D-6E8A-4147-A177-3AD203B41FA5}">
                      <a16:colId xmlns:a16="http://schemas.microsoft.com/office/drawing/2014/main" val="421234616"/>
                    </a:ext>
                  </a:extLst>
                </a:gridCol>
                <a:gridCol w="636432">
                  <a:extLst>
                    <a:ext uri="{9D8B030D-6E8A-4147-A177-3AD203B41FA5}">
                      <a16:colId xmlns:a16="http://schemas.microsoft.com/office/drawing/2014/main" val="3467066403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3584228562"/>
                    </a:ext>
                  </a:extLst>
                </a:gridCol>
                <a:gridCol w="665656">
                  <a:extLst>
                    <a:ext uri="{9D8B030D-6E8A-4147-A177-3AD203B41FA5}">
                      <a16:colId xmlns:a16="http://schemas.microsoft.com/office/drawing/2014/main" val="3451644691"/>
                    </a:ext>
                  </a:extLst>
                </a:gridCol>
                <a:gridCol w="511302">
                  <a:extLst>
                    <a:ext uri="{9D8B030D-6E8A-4147-A177-3AD203B41FA5}">
                      <a16:colId xmlns:a16="http://schemas.microsoft.com/office/drawing/2014/main" val="1754919778"/>
                    </a:ext>
                  </a:extLst>
                </a:gridCol>
                <a:gridCol w="1384374">
                  <a:extLst>
                    <a:ext uri="{9D8B030D-6E8A-4147-A177-3AD203B41FA5}">
                      <a16:colId xmlns:a16="http://schemas.microsoft.com/office/drawing/2014/main" val="3332728284"/>
                    </a:ext>
                  </a:extLst>
                </a:gridCol>
              </a:tblGrid>
              <a:tr h="287489"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Информация о плановых и фактических объемах предоставления регулируемых услуг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рибыль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умма инвестиционной программы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3016798"/>
                  </a:ext>
                </a:extLst>
              </a:tr>
              <a:tr h="4294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регулируемых услуг и обслуживаемая территория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мероприятий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Ед. изм.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в натуральных показателях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лан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отклонение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ричины отклонения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2448413"/>
                  </a:ext>
                </a:extLst>
              </a:tr>
              <a:tr h="2838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лан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7887318"/>
                  </a:ext>
                </a:extLst>
              </a:tr>
              <a:tr h="1455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3857" marR="3857" marT="385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5546394"/>
                  </a:ext>
                </a:extLst>
              </a:tr>
              <a:tr h="85528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ранспортировка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аза по территории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нгистауской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Актюбинской,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ызылординской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 Туркестанской области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сширение ГИС «Бейнеу»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бота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го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965 323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3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0 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7 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 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величение с связи с увеличением фактической стоимости работ относительно утвержденной суммы в ИП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1985575"/>
                  </a:ext>
                </a:extLst>
              </a:tr>
              <a:tr h="12811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обретение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сновных средств для поддержания текущего уровня производства и выполнение работ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шт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 009 300 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 009 300 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-   </a:t>
                      </a:r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b="1" dirty="0"/>
                    </a:p>
                  </a:txBody>
                  <a:tcPr marL="3857" marR="3857" marT="38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97991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083173" y="1171452"/>
            <a:ext cx="9630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/>
              <a:t>т</a:t>
            </a:r>
            <a:r>
              <a:rPr lang="ru-RU" sz="1000" b="1" i="1" dirty="0" smtClean="0"/>
              <a:t>ыс. тенге</a:t>
            </a:r>
            <a:endParaRPr lang="ru-RU" sz="1000" b="1" i="1" dirty="0"/>
          </a:p>
        </p:txBody>
      </p:sp>
    </p:spTree>
    <p:extLst>
      <p:ext uri="{BB962C8B-B14F-4D97-AF65-F5344CB8AC3E}">
        <p14:creationId xmlns:p14="http://schemas.microsoft.com/office/powerpoint/2010/main" val="269531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6060868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ИСПОЛНЕНИЕ ИНВЕСТИЦИОННОЙ ПРОГРАММЫ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 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6106585" y="102452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6157385" y="107243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7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857613"/>
              </p:ext>
            </p:extLst>
          </p:nvPr>
        </p:nvGraphicFramePr>
        <p:xfrm>
          <a:off x="155578" y="491986"/>
          <a:ext cx="8829393" cy="4383227"/>
        </p:xfrm>
        <a:graphic>
          <a:graphicData uri="http://schemas.openxmlformats.org/drawingml/2006/table">
            <a:tbl>
              <a:tblPr/>
              <a:tblGrid>
                <a:gridCol w="528019">
                  <a:extLst>
                    <a:ext uri="{9D8B030D-6E8A-4147-A177-3AD203B41FA5}">
                      <a16:colId xmlns:a16="http://schemas.microsoft.com/office/drawing/2014/main" val="1818105840"/>
                    </a:ext>
                  </a:extLst>
                </a:gridCol>
                <a:gridCol w="603176">
                  <a:extLst>
                    <a:ext uri="{9D8B030D-6E8A-4147-A177-3AD203B41FA5}">
                      <a16:colId xmlns:a16="http://schemas.microsoft.com/office/drawing/2014/main" val="4152282414"/>
                    </a:ext>
                  </a:extLst>
                </a:gridCol>
                <a:gridCol w="408496">
                  <a:extLst>
                    <a:ext uri="{9D8B030D-6E8A-4147-A177-3AD203B41FA5}">
                      <a16:colId xmlns:a16="http://schemas.microsoft.com/office/drawing/2014/main" val="982695239"/>
                    </a:ext>
                  </a:extLst>
                </a:gridCol>
                <a:gridCol w="696354">
                  <a:extLst>
                    <a:ext uri="{9D8B030D-6E8A-4147-A177-3AD203B41FA5}">
                      <a16:colId xmlns:a16="http://schemas.microsoft.com/office/drawing/2014/main" val="3443387750"/>
                    </a:ext>
                  </a:extLst>
                </a:gridCol>
                <a:gridCol w="528019">
                  <a:extLst>
                    <a:ext uri="{9D8B030D-6E8A-4147-A177-3AD203B41FA5}">
                      <a16:colId xmlns:a16="http://schemas.microsoft.com/office/drawing/2014/main" val="3894783385"/>
                    </a:ext>
                  </a:extLst>
                </a:gridCol>
                <a:gridCol w="528019">
                  <a:extLst>
                    <a:ext uri="{9D8B030D-6E8A-4147-A177-3AD203B41FA5}">
                      <a16:colId xmlns:a16="http://schemas.microsoft.com/office/drawing/2014/main" val="3479109862"/>
                    </a:ext>
                  </a:extLst>
                </a:gridCol>
                <a:gridCol w="528019">
                  <a:extLst>
                    <a:ext uri="{9D8B030D-6E8A-4147-A177-3AD203B41FA5}">
                      <a16:colId xmlns:a16="http://schemas.microsoft.com/office/drawing/2014/main" val="1858503441"/>
                    </a:ext>
                  </a:extLst>
                </a:gridCol>
                <a:gridCol w="743818">
                  <a:extLst>
                    <a:ext uri="{9D8B030D-6E8A-4147-A177-3AD203B41FA5}">
                      <a16:colId xmlns:a16="http://schemas.microsoft.com/office/drawing/2014/main" val="3570795165"/>
                    </a:ext>
                  </a:extLst>
                </a:gridCol>
                <a:gridCol w="743818">
                  <a:extLst>
                    <a:ext uri="{9D8B030D-6E8A-4147-A177-3AD203B41FA5}">
                      <a16:colId xmlns:a16="http://schemas.microsoft.com/office/drawing/2014/main" val="1825494022"/>
                    </a:ext>
                  </a:extLst>
                </a:gridCol>
                <a:gridCol w="725451">
                  <a:extLst>
                    <a:ext uri="{9D8B030D-6E8A-4147-A177-3AD203B41FA5}">
                      <a16:colId xmlns:a16="http://schemas.microsoft.com/office/drawing/2014/main" val="1644845741"/>
                    </a:ext>
                  </a:extLst>
                </a:gridCol>
                <a:gridCol w="528019">
                  <a:extLst>
                    <a:ext uri="{9D8B030D-6E8A-4147-A177-3AD203B41FA5}">
                      <a16:colId xmlns:a16="http://schemas.microsoft.com/office/drawing/2014/main" val="314266708"/>
                    </a:ext>
                  </a:extLst>
                </a:gridCol>
                <a:gridCol w="505061">
                  <a:extLst>
                    <a:ext uri="{9D8B030D-6E8A-4147-A177-3AD203B41FA5}">
                      <a16:colId xmlns:a16="http://schemas.microsoft.com/office/drawing/2014/main" val="1639470944"/>
                    </a:ext>
                  </a:extLst>
                </a:gridCol>
                <a:gridCol w="881562">
                  <a:extLst>
                    <a:ext uri="{9D8B030D-6E8A-4147-A177-3AD203B41FA5}">
                      <a16:colId xmlns:a16="http://schemas.microsoft.com/office/drawing/2014/main" val="555518401"/>
                    </a:ext>
                  </a:extLst>
                </a:gridCol>
                <a:gridCol w="881562">
                  <a:extLst>
                    <a:ext uri="{9D8B030D-6E8A-4147-A177-3AD203B41FA5}">
                      <a16:colId xmlns:a16="http://schemas.microsoft.com/office/drawing/2014/main" val="4064426289"/>
                    </a:ext>
                  </a:extLst>
                </a:gridCol>
              </a:tblGrid>
              <a:tr h="610330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Оценка повышения качества и надежности предоставляемых регулируемых услуг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9743160"/>
                  </a:ext>
                </a:extLst>
              </a:tr>
              <a:tr h="50500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обственные средств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Заемные средств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Бюджетные средств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Улучшение производственных показателей, %, по годам реализации в зависимости от утвержденной инвестиционной программы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319823"/>
                  </a:ext>
                </a:extLst>
              </a:tr>
              <a:tr h="175286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Амортизация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рибыль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4162186"/>
                  </a:ext>
                </a:extLst>
              </a:tr>
              <a:tr h="7554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 прошлого год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 текущего год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 прошлого год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 текущего год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план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 прошлого год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факт текущего года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B4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1442251"/>
                  </a:ext>
                </a:extLst>
              </a:tr>
              <a:tr h="2546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3264545"/>
                  </a:ext>
                </a:extLst>
              </a:tr>
              <a:tr h="505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4 670 827 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551" marR="2551" marT="25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83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669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4657267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ИСПОЛНЕНИЕ ТАРИФНОЙ СМЕТЫ ЗА 202</a:t>
            </a:r>
            <a:r>
              <a:rPr lang="en-US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4 </a:t>
            </a:r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ГО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4702699" y="96810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4753499" y="101601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8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670582"/>
              </p:ext>
            </p:extLst>
          </p:nvPr>
        </p:nvGraphicFramePr>
        <p:xfrm>
          <a:off x="96233" y="527264"/>
          <a:ext cx="8946166" cy="4478148"/>
        </p:xfrm>
        <a:graphic>
          <a:graphicData uri="http://schemas.openxmlformats.org/drawingml/2006/table">
            <a:tbl>
              <a:tblPr firstRow="1" bandRow="1"/>
              <a:tblGrid>
                <a:gridCol w="623813">
                  <a:extLst>
                    <a:ext uri="{9D8B030D-6E8A-4147-A177-3AD203B41FA5}">
                      <a16:colId xmlns:a16="http://schemas.microsoft.com/office/drawing/2014/main" val="4148375768"/>
                    </a:ext>
                  </a:extLst>
                </a:gridCol>
                <a:gridCol w="1519960">
                  <a:extLst>
                    <a:ext uri="{9D8B030D-6E8A-4147-A177-3AD203B41FA5}">
                      <a16:colId xmlns:a16="http://schemas.microsoft.com/office/drawing/2014/main" val="1901340684"/>
                    </a:ext>
                  </a:extLst>
                </a:gridCol>
                <a:gridCol w="1079525">
                  <a:extLst>
                    <a:ext uri="{9D8B030D-6E8A-4147-A177-3AD203B41FA5}">
                      <a16:colId xmlns:a16="http://schemas.microsoft.com/office/drawing/2014/main" val="1328778502"/>
                    </a:ext>
                  </a:extLst>
                </a:gridCol>
                <a:gridCol w="1948268">
                  <a:extLst>
                    <a:ext uri="{9D8B030D-6E8A-4147-A177-3AD203B41FA5}">
                      <a16:colId xmlns:a16="http://schemas.microsoft.com/office/drawing/2014/main" val="3132134219"/>
                    </a:ext>
                  </a:extLst>
                </a:gridCol>
                <a:gridCol w="1760870">
                  <a:extLst>
                    <a:ext uri="{9D8B030D-6E8A-4147-A177-3AD203B41FA5}">
                      <a16:colId xmlns:a16="http://schemas.microsoft.com/office/drawing/2014/main" val="3117630981"/>
                    </a:ext>
                  </a:extLst>
                </a:gridCol>
                <a:gridCol w="1197165">
                  <a:extLst>
                    <a:ext uri="{9D8B030D-6E8A-4147-A177-3AD203B41FA5}">
                      <a16:colId xmlns:a16="http://schemas.microsoft.com/office/drawing/2014/main" val="3798335197"/>
                    </a:ext>
                  </a:extLst>
                </a:gridCol>
                <a:gridCol w="816565">
                  <a:extLst>
                    <a:ext uri="{9D8B030D-6E8A-4147-A177-3AD203B41FA5}">
                      <a16:colId xmlns:a16="http://schemas.microsoft.com/office/drawing/2014/main" val="1631781302"/>
                    </a:ext>
                  </a:extLst>
                </a:gridCol>
              </a:tblGrid>
              <a:tr h="470999"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именование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Times New Roman" panose="02020603050405020304" pitchFamily="18" charset="0"/>
                        </a:rPr>
                        <a:t>Ед. изм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Times New Roman" panose="02020603050405020304" pitchFamily="18" charset="0"/>
                        </a:rPr>
                        <a:t>Утвержденные</a:t>
                      </a:r>
                      <a:r>
                        <a:rPr lang="ru-RU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en-US" sz="1050" b="1" i="0" u="none" strike="noStrike" kern="1200" baseline="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Times New Roman" panose="02020603050405020304" pitchFamily="18" charset="0"/>
                        </a:rPr>
                        <a:t>значения</a:t>
                      </a:r>
                      <a:endParaRPr lang="ru-RU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 rtl="0" fontAlgn="ctr"/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Times New Roman" panose="02020603050405020304" pitchFamily="18" charset="0"/>
                        </a:rPr>
                        <a:t>Фактическое</a:t>
                      </a:r>
                      <a:endParaRPr lang="en-US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Calibri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68578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  <a:ea typeface="+mn-ea"/>
                          <a:cs typeface="Times New Roman" panose="02020603050405020304" pitchFamily="18" charset="0"/>
                        </a:rPr>
                        <a:t> исполнение</a:t>
                      </a:r>
                    </a:p>
                    <a:p>
                      <a:pPr algn="ctr" rtl="0" fontAlgn="ctr"/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клонение,</a:t>
                      </a:r>
                    </a:p>
                    <a:p>
                      <a:pPr algn="ctr" rtl="0" fontAlgn="ctr"/>
                      <a:r>
                        <a:rPr lang="ru-RU" sz="105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бс</a:t>
                      </a:r>
                      <a:r>
                        <a:rPr lang="ru-RU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tc>
                  <a:txBody>
                    <a:bodyPr/>
                    <a:lstStyle>
                      <a:lvl1pPr marL="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4289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685783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028674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371566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714457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057349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400240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2743131" algn="l" defTabSz="685783" rtl="0" eaLnBrk="1" latinLnBrk="0" hangingPunct="1">
                        <a:defRPr sz="135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тклонение, в 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CB4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115600"/>
                  </a:ext>
                </a:extLst>
              </a:tr>
              <a:tr h="5563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траты на производство товаров и предоставление услуг, всего, в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ч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49 718 0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53 468 7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3 750 70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629629"/>
                  </a:ext>
                </a:extLst>
              </a:tr>
              <a:tr h="1775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27 577 47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29 413 26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1 835 79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0436650"/>
                  </a:ext>
                </a:extLst>
              </a:tr>
              <a:tr h="3083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 всего, в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.ч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12 807 2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611 07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2 803 855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2%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621919"/>
                  </a:ext>
                </a:extLst>
              </a:tr>
              <a:tr h="6074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: в том числе: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 2 257 82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5 061 67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2 803 8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3281064"/>
                  </a:ext>
                </a:extLst>
              </a:tr>
              <a:tr h="1588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      701 0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747 07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46 0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027327"/>
                  </a:ext>
                </a:extLst>
              </a:tr>
              <a:tr h="30839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на вознагражд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10 549 39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</a:t>
                      </a:r>
                      <a:r>
                        <a:rPr lang="ru-RU" sz="10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549 399 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en-US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842595"/>
                  </a:ext>
                </a:extLst>
              </a:tr>
              <a:tr h="1588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62 525 29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 079 851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554 561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%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9324089"/>
                  </a:ext>
                </a:extLst>
              </a:tr>
              <a:tr h="15886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80 224 28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 289 096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en-US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 935 190 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en-US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8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2193416"/>
                  </a:ext>
                </a:extLst>
              </a:tr>
              <a:tr h="1775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 тенг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142 749 57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47 368 9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 619 3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en-US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3</a:t>
                      </a: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4652758"/>
                  </a:ext>
                </a:extLst>
              </a:tr>
              <a:tr h="1588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оказываемых услу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0м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15 313 85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16 138 16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824 31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6974397"/>
                  </a:ext>
                </a:extLst>
              </a:tr>
              <a:tr h="1588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0м3/100к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178 048 27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182 860 6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4 812 37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5331100"/>
                  </a:ext>
                </a:extLst>
              </a:tr>
              <a:tr h="1588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ормативные технические потери,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            2,9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 2,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8984570"/>
                  </a:ext>
                </a:extLst>
              </a:tr>
              <a:tr h="2361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0 м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    437 0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406 69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                30 40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3330571"/>
                  </a:ext>
                </a:extLst>
              </a:tr>
              <a:tr h="282472">
                <a:tc rowSpan="2"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I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риф (без НДС) за 1000м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нге 1000м3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12 4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12 41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837139"/>
                  </a:ext>
                </a:extLst>
              </a:tr>
              <a:tr h="3485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риф (без НДС)  за 1000м3/100к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нге 1000м3/100 к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           902,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     902,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8707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944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14;p5"/>
          <p:cNvSpPr/>
          <p:nvPr/>
        </p:nvSpPr>
        <p:spPr>
          <a:xfrm>
            <a:off x="4328742" y="0"/>
            <a:ext cx="4567029" cy="5019674"/>
          </a:xfrm>
          <a:prstGeom prst="rect">
            <a:avLst/>
          </a:prstGeom>
          <a:solidFill>
            <a:srgbClr val="DBEEF4">
              <a:alpha val="36000"/>
            </a:srgb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24" name="Google Shape;14;p5"/>
          <p:cNvSpPr/>
          <p:nvPr/>
        </p:nvSpPr>
        <p:spPr>
          <a:xfrm>
            <a:off x="34787" y="0"/>
            <a:ext cx="4537213" cy="5034170"/>
          </a:xfrm>
          <a:prstGeom prst="rect">
            <a:avLst/>
          </a:prstGeom>
          <a:solidFill>
            <a:srgbClr val="30385E">
              <a:alpha val="700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endParaRPr/>
          </a:p>
        </p:txBody>
      </p:sp>
      <p:grpSp>
        <p:nvGrpSpPr>
          <p:cNvPr id="117" name="Group 14"/>
          <p:cNvGrpSpPr/>
          <p:nvPr/>
        </p:nvGrpSpPr>
        <p:grpSpPr>
          <a:xfrm>
            <a:off x="31751" y="5027614"/>
            <a:ext cx="9112251" cy="82551"/>
            <a:chOff x="1" y="1671514"/>
            <a:chExt cx="1627092" cy="103498"/>
          </a:xfrm>
        </p:grpSpPr>
        <p:sp>
          <p:nvSpPr>
            <p:cNvPr id="118" name="Rectangle 11"/>
            <p:cNvSpPr/>
            <p:nvPr/>
          </p:nvSpPr>
          <p:spPr>
            <a:xfrm>
              <a:off x="1" y="1671514"/>
              <a:ext cx="542364" cy="103498"/>
            </a:xfrm>
            <a:prstGeom prst="rect">
              <a:avLst/>
            </a:prstGeom>
            <a:solidFill>
              <a:srgbClr val="0F6FC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" name="Rectangle 12"/>
            <p:cNvSpPr/>
            <p:nvPr/>
          </p:nvSpPr>
          <p:spPr>
            <a:xfrm>
              <a:off x="542365" y="1671514"/>
              <a:ext cx="542364" cy="103498"/>
            </a:xfrm>
            <a:prstGeom prst="rect">
              <a:avLst/>
            </a:prstGeom>
            <a:solidFill>
              <a:srgbClr val="009D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" name="Rectangle 13"/>
            <p:cNvSpPr/>
            <p:nvPr/>
          </p:nvSpPr>
          <p:spPr>
            <a:xfrm>
              <a:off x="1084729" y="1671514"/>
              <a:ext cx="542364" cy="103498"/>
            </a:xfrm>
            <a:prstGeom prst="rect">
              <a:avLst/>
            </a:prstGeom>
            <a:solidFill>
              <a:srgbClr val="0BD0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buClrTx/>
                <a:defRPr/>
              </a:pPr>
              <a:endParaRPr lang="en-US" sz="1013" kern="1200">
                <a:solidFill>
                  <a:prstClr val="white"/>
                </a:solidFill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9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-1" y="101601"/>
            <a:ext cx="4657267" cy="307070"/>
          </a:xfrm>
          <a:prstGeom prst="roundRect">
            <a:avLst>
              <a:gd name="adj" fmla="val 2649"/>
            </a:avLst>
          </a:prstGeom>
          <a:solidFill>
            <a:srgbClr val="1AA4BE">
              <a:alpha val="93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8" name="Picture 6" descr="C:\Users\l.kabdugalieva\Pictures\to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56"/>
          <a:stretch>
            <a:fillRect/>
          </a:stretch>
        </p:blipFill>
        <p:spPr bwMode="auto">
          <a:xfrm>
            <a:off x="6927851" y="38107"/>
            <a:ext cx="2170431" cy="34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96233" y="103913"/>
            <a:ext cx="585765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СТРУКТУРА ЗАТРАТ ТАРИФНОЙ СМЕТ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5" name="Rounded Rectangle 9">
            <a:extLst>
              <a:ext uri="{FF2B5EF4-FFF2-40B4-BE49-F238E27FC236}">
                <a16:creationId xmlns:a16="http://schemas.microsoft.com/office/drawing/2014/main" id="{60384724-333D-4608-AAE7-D6D61F8A9117}"/>
              </a:ext>
            </a:extLst>
          </p:cNvPr>
          <p:cNvSpPr/>
          <p:nvPr/>
        </p:nvSpPr>
        <p:spPr>
          <a:xfrm>
            <a:off x="4702699" y="96810"/>
            <a:ext cx="381000" cy="306219"/>
          </a:xfrm>
          <a:prstGeom prst="roundRect">
            <a:avLst>
              <a:gd name="adj" fmla="val 2649"/>
            </a:avLst>
          </a:prstGeom>
          <a:solidFill>
            <a:srgbClr val="00B0F0">
              <a:alpha val="86000"/>
            </a:srgbClr>
          </a:solidFill>
          <a:ln w="3810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4753499" y="101601"/>
            <a:ext cx="3447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Ubuntu"/>
              </a:rPr>
              <a:t>9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0" y="5"/>
            <a:ext cx="9144000" cy="5143499"/>
          </a:xfrm>
          <a:prstGeom prst="rect">
            <a:avLst/>
          </a:prstGeom>
          <a:noFill/>
          <a:ln w="76200"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16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18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20" descr="Gas pipeline low poly landing page template. Energy resources  transportation pipe with globe valve polygonal illustration. Natural gas  extraction and supply industry mesh art website design layout Stock Vector  | Adobe Stock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6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2454915"/>
              </p:ext>
            </p:extLst>
          </p:nvPr>
        </p:nvGraphicFramePr>
        <p:xfrm>
          <a:off x="240031" y="496537"/>
          <a:ext cx="4331970" cy="444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1" name="Прямая соединительная линия 20"/>
          <p:cNvCxnSpPr/>
          <p:nvPr/>
        </p:nvCxnSpPr>
        <p:spPr>
          <a:xfrm>
            <a:off x="4581067" y="555320"/>
            <a:ext cx="3862" cy="4381408"/>
          </a:xfrm>
          <a:prstGeom prst="line">
            <a:avLst/>
          </a:prstGeom>
          <a:ln w="12700">
            <a:solidFill>
              <a:srgbClr val="0070C0">
                <a:alpha val="67000"/>
              </a:srgb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3266934"/>
              </p:ext>
            </p:extLst>
          </p:nvPr>
        </p:nvGraphicFramePr>
        <p:xfrm>
          <a:off x="4887594" y="96810"/>
          <a:ext cx="4475768" cy="5920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60375" y="748029"/>
            <a:ext cx="39052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СЕБЕСТОИМОСТЬ – </a:t>
            </a:r>
            <a:r>
              <a:rPr lang="en-US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53</a:t>
            </a:r>
            <a:r>
              <a:rPr lang="ru-RU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468</a:t>
            </a:r>
            <a:r>
              <a:rPr lang="ru-RU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776</a:t>
            </a:r>
            <a:r>
              <a:rPr lang="ru-RU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 тыс.</a:t>
            </a:r>
            <a:r>
              <a:rPr lang="en-US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тенге</a:t>
            </a:r>
            <a:endParaRPr lang="ru-RU" b="1" dirty="0">
              <a:solidFill>
                <a:srgbClr val="002060"/>
              </a:solidFill>
              <a:latin typeface="Calibri 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719024" y="748028"/>
            <a:ext cx="400753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ХОДЫ ПЕРИОДА – </a:t>
            </a:r>
            <a:r>
              <a:rPr lang="ru-RU" sz="1300" b="1" dirty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15 611 </a:t>
            </a:r>
            <a:r>
              <a:rPr lang="ru-RU" sz="1300" b="1" dirty="0" smtClean="0">
                <a:solidFill>
                  <a:srgbClr val="002060"/>
                </a:solidFill>
                <a:latin typeface="Calibri "/>
                <a:cs typeface="Arial" panose="020B0604020202020204" pitchFamily="34" charset="0"/>
              </a:rPr>
              <a:t>075 тыс. тенге</a:t>
            </a:r>
            <a:endParaRPr lang="ru-RU" sz="1300" b="1" dirty="0">
              <a:solidFill>
                <a:srgbClr val="002060"/>
              </a:solidFill>
              <a:latin typeface="Calibri 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633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Project Plan">
  <a:themeElements>
    <a:clrScheme name="Custom 53">
      <a:dk1>
        <a:srgbClr val="323C40"/>
      </a:dk1>
      <a:lt1>
        <a:srgbClr val="FEFFFF"/>
      </a:lt1>
      <a:dk2>
        <a:srgbClr val="384F62"/>
      </a:dk2>
      <a:lt2>
        <a:srgbClr val="4D647A"/>
      </a:lt2>
      <a:accent1>
        <a:srgbClr val="FFBF76"/>
      </a:accent1>
      <a:accent2>
        <a:srgbClr val="74C4BE"/>
      </a:accent2>
      <a:accent3>
        <a:srgbClr val="F7655F"/>
      </a:accent3>
      <a:accent4>
        <a:srgbClr val="3497DF"/>
      </a:accent4>
      <a:accent5>
        <a:srgbClr val="E1E1E3"/>
      </a:accent5>
      <a:accent6>
        <a:srgbClr val="F4F4F4"/>
      </a:accent6>
      <a:hlink>
        <a:srgbClr val="E1E1E3"/>
      </a:hlink>
      <a:folHlink>
        <a:srgbClr val="F4F4F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018</TotalTime>
  <Words>2375</Words>
  <Application>Microsoft Office PowerPoint</Application>
  <PresentationFormat>Экран (16:9)</PresentationFormat>
  <Paragraphs>666</Paragraphs>
  <Slides>14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9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39" baseType="lpstr">
      <vt:lpstr>Open Sans</vt:lpstr>
      <vt:lpstr>DengXian</vt:lpstr>
      <vt:lpstr>Wingdings</vt:lpstr>
      <vt:lpstr>Ubuntu</vt:lpstr>
      <vt:lpstr>Roboto Condensed Light</vt:lpstr>
      <vt:lpstr>Calibri</vt:lpstr>
      <vt:lpstr>Montserrat Light</vt:lpstr>
      <vt:lpstr>SeroPro</vt:lpstr>
      <vt:lpstr>Segoe UI Light</vt:lpstr>
      <vt:lpstr>Calibri Light</vt:lpstr>
      <vt:lpstr>Montserrat</vt:lpstr>
      <vt:lpstr>Times New Roman</vt:lpstr>
      <vt:lpstr>Calibri </vt:lpstr>
      <vt:lpstr>Verdana Pro</vt:lpstr>
      <vt:lpstr>D # @</vt:lpstr>
      <vt:lpstr>Segoe UI</vt:lpstr>
      <vt:lpstr>Georgia</vt:lpstr>
      <vt:lpstr>Arial</vt:lpstr>
      <vt:lpstr>Segoe UI Semibold</vt:lpstr>
      <vt:lpstr>Project Plan</vt:lpstr>
      <vt:lpstr>Office Theme</vt:lpstr>
      <vt:lpstr>1_Office Theme</vt:lpstr>
      <vt:lpstr>6_White_RU_9260DX _16x9_OF_v1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рганов Алмаз Шухратович</dc:creator>
  <cp:lastModifiedBy>Amankelsin Amangeldin</cp:lastModifiedBy>
  <cp:revision>608</cp:revision>
  <cp:lastPrinted>2024-04-05T09:54:23Z</cp:lastPrinted>
  <dcterms:modified xsi:type="dcterms:W3CDTF">2025-04-10T12:52:51Z</dcterms:modified>
</cp:coreProperties>
</file>